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90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1" autoAdjust="0"/>
    <p:restoredTop sz="94675" autoAdjust="0"/>
  </p:normalViewPr>
  <p:slideViewPr>
    <p:cSldViewPr>
      <p:cViewPr varScale="1">
        <p:scale>
          <a:sx n="79" d="100"/>
          <a:sy n="79" d="100"/>
        </p:scale>
        <p:origin x="1574" y="43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74E40A-2D4B-4318-AA76-E3688B9920F1}" type="datetimeFigureOut">
              <a:rPr lang="en-US" smtClean="0"/>
              <a:t>11/2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5D34DB-07AD-4762-AAE0-23AEECFD29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9641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1012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4" descr="Titel-Motiv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-17013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Rechteck 23"/>
          <p:cNvSpPr/>
          <p:nvPr userDrawn="1"/>
        </p:nvSpPr>
        <p:spPr bwMode="gray">
          <a:xfrm>
            <a:off x="-6350" y="4832230"/>
            <a:ext cx="9150350" cy="2025690"/>
          </a:xfrm>
          <a:custGeom>
            <a:avLst/>
            <a:gdLst/>
            <a:ahLst/>
            <a:cxnLst/>
            <a:rect l="l" t="t" r="r" b="b"/>
            <a:pathLst>
              <a:path w="9150350" h="2025690">
                <a:moveTo>
                  <a:pt x="3809585" y="669"/>
                </a:moveTo>
                <a:cubicBezTo>
                  <a:pt x="4259152" y="-7769"/>
                  <a:pt x="4564648" y="65267"/>
                  <a:pt x="4959614" y="124232"/>
                </a:cubicBezTo>
                <a:cubicBezTo>
                  <a:pt x="5169310" y="155997"/>
                  <a:pt x="5938194" y="314825"/>
                  <a:pt x="6424307" y="381533"/>
                </a:cubicBezTo>
                <a:cubicBezTo>
                  <a:pt x="7984316" y="584833"/>
                  <a:pt x="8629288" y="384710"/>
                  <a:pt x="9150350" y="235411"/>
                </a:cubicBezTo>
                <a:cubicBezTo>
                  <a:pt x="9150350" y="235430"/>
                  <a:pt x="9150350" y="240479"/>
                  <a:pt x="9150350" y="1568558"/>
                </a:cubicBezTo>
                <a:lnTo>
                  <a:pt x="9150350" y="1661688"/>
                </a:lnTo>
                <a:lnTo>
                  <a:pt x="9150350" y="1763291"/>
                </a:lnTo>
                <a:lnTo>
                  <a:pt x="9150350" y="2025690"/>
                </a:lnTo>
                <a:lnTo>
                  <a:pt x="6350" y="2025690"/>
                </a:lnTo>
                <a:lnTo>
                  <a:pt x="6350" y="1763291"/>
                </a:lnTo>
                <a:lnTo>
                  <a:pt x="0" y="1763291"/>
                </a:lnTo>
                <a:lnTo>
                  <a:pt x="0" y="1568558"/>
                </a:lnTo>
                <a:lnTo>
                  <a:pt x="9525" y="1568558"/>
                </a:lnTo>
                <a:cubicBezTo>
                  <a:pt x="9525" y="1427363"/>
                  <a:pt x="9525" y="1072103"/>
                  <a:pt x="9525" y="178233"/>
                </a:cubicBezTo>
                <a:cubicBezTo>
                  <a:pt x="123904" y="213175"/>
                  <a:pt x="1169206" y="505419"/>
                  <a:pt x="2389253" y="213175"/>
                </a:cubicBezTo>
                <a:cubicBezTo>
                  <a:pt x="3023106" y="63083"/>
                  <a:pt x="3459923" y="7232"/>
                  <a:pt x="3809585" y="669"/>
                </a:cubicBezTo>
                <a:close/>
              </a:path>
            </a:pathLst>
          </a:custGeom>
          <a:gradFill>
            <a:gsLst>
              <a:gs pos="0">
                <a:srgbClr val="DBDBDB"/>
              </a:gs>
              <a:gs pos="78000">
                <a:schemeClr val="bg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9" name="Freeform 12"/>
          <p:cNvSpPr>
            <a:spLocks/>
          </p:cNvSpPr>
          <p:nvPr userDrawn="1"/>
        </p:nvSpPr>
        <p:spPr bwMode="gray">
          <a:xfrm>
            <a:off x="-6350" y="4709294"/>
            <a:ext cx="9150350" cy="712875"/>
          </a:xfrm>
          <a:custGeom>
            <a:avLst/>
            <a:gdLst>
              <a:gd name="T0" fmla="*/ 2880 w 2880"/>
              <a:gd name="T1" fmla="*/ 67 h 224"/>
              <a:gd name="T2" fmla="*/ 1955 w 2880"/>
              <a:gd name="T3" fmla="*/ 130 h 224"/>
              <a:gd name="T4" fmla="*/ 1212 w 2880"/>
              <a:gd name="T5" fmla="*/ 24 h 224"/>
              <a:gd name="T6" fmla="*/ 433 w 2880"/>
              <a:gd name="T7" fmla="*/ 137 h 224"/>
              <a:gd name="T8" fmla="*/ 0 w 2880"/>
              <a:gd name="T9" fmla="*/ 67 h 224"/>
              <a:gd name="T10" fmla="*/ 1 w 2880"/>
              <a:gd name="T11" fmla="*/ 96 h 224"/>
              <a:gd name="T12" fmla="*/ 753 w 2880"/>
              <a:gd name="T13" fmla="*/ 108 h 224"/>
              <a:gd name="T14" fmla="*/ 1561 w 2880"/>
              <a:gd name="T15" fmla="*/ 80 h 224"/>
              <a:gd name="T16" fmla="*/ 2022 w 2880"/>
              <a:gd name="T17" fmla="*/ 160 h 224"/>
              <a:gd name="T18" fmla="*/ 2880 w 2880"/>
              <a:gd name="T19" fmla="*/ 114 h 224"/>
              <a:gd name="T20" fmla="*/ 2880 w 2880"/>
              <a:gd name="T21" fmla="*/ 67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880" h="224">
                <a:moveTo>
                  <a:pt x="2880" y="67"/>
                </a:moveTo>
                <a:cubicBezTo>
                  <a:pt x="2737" y="127"/>
                  <a:pt x="2450" y="206"/>
                  <a:pt x="1955" y="130"/>
                </a:cubicBezTo>
                <a:cubicBezTo>
                  <a:pt x="1571" y="69"/>
                  <a:pt x="1424" y="24"/>
                  <a:pt x="1212" y="24"/>
                </a:cubicBezTo>
                <a:cubicBezTo>
                  <a:pt x="932" y="24"/>
                  <a:pt x="775" y="136"/>
                  <a:pt x="433" y="137"/>
                </a:cubicBezTo>
                <a:cubicBezTo>
                  <a:pt x="184" y="140"/>
                  <a:pt x="0" y="67"/>
                  <a:pt x="0" y="67"/>
                </a:cubicBezTo>
                <a:cubicBezTo>
                  <a:pt x="1" y="96"/>
                  <a:pt x="1" y="96"/>
                  <a:pt x="1" y="96"/>
                </a:cubicBezTo>
                <a:cubicBezTo>
                  <a:pt x="1" y="96"/>
                  <a:pt x="346" y="205"/>
                  <a:pt x="753" y="108"/>
                </a:cubicBezTo>
                <a:cubicBezTo>
                  <a:pt x="1208" y="0"/>
                  <a:pt x="1340" y="47"/>
                  <a:pt x="1561" y="80"/>
                </a:cubicBezTo>
                <a:cubicBezTo>
                  <a:pt x="1627" y="90"/>
                  <a:pt x="1869" y="140"/>
                  <a:pt x="2022" y="160"/>
                </a:cubicBezTo>
                <a:cubicBezTo>
                  <a:pt x="2514" y="224"/>
                  <a:pt x="2716" y="161"/>
                  <a:pt x="2880" y="114"/>
                </a:cubicBezTo>
                <a:cubicBezTo>
                  <a:pt x="2880" y="67"/>
                  <a:pt x="2880" y="67"/>
                  <a:pt x="2880" y="67"/>
                </a:cubicBezTo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charset="0"/>
            </a:endParaRPr>
          </a:p>
        </p:txBody>
      </p:sp>
      <p:sp>
        <p:nvSpPr>
          <p:cNvPr id="25" name="Ecken des Rechtecks auf der gleichen Seite abrunden 9"/>
          <p:cNvSpPr/>
          <p:nvPr userDrawn="1"/>
        </p:nvSpPr>
        <p:spPr bwMode="gray">
          <a:xfrm rot="5400000">
            <a:off x="1613694" y="1096160"/>
            <a:ext cx="1862137" cy="5089525"/>
          </a:xfrm>
          <a:prstGeom prst="round2SameRect">
            <a:avLst/>
          </a:prstGeom>
          <a:solidFill>
            <a:schemeClr val="bg1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27" name="Bild 10" descr="Ausrufezeichen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16455" y="3133716"/>
            <a:ext cx="441325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95289" y="5698328"/>
            <a:ext cx="5446712" cy="819944"/>
          </a:xfrm>
        </p:spPr>
        <p:txBody>
          <a:bodyPr anchor="b"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087439" y="3127375"/>
            <a:ext cx="3774122" cy="1063632"/>
          </a:xfrm>
        </p:spPr>
        <p:txBody>
          <a:bodyPr anchor="b" anchorCtr="0"/>
          <a:lstStyle>
            <a:lvl1pPr marL="0" indent="0" algn="l">
              <a:buNone/>
              <a:defRPr sz="2400" b="1">
                <a:solidFill>
                  <a:srgbClr val="595959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pic>
        <p:nvPicPr>
          <p:cNvPr id="28" name="Bild 7" descr="Logo-ohne-Claim_Titelseite.pn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536517" y="5891202"/>
            <a:ext cx="2217738" cy="525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Oval 3"/>
          <p:cNvSpPr/>
          <p:nvPr userDrawn="1"/>
        </p:nvSpPr>
        <p:spPr bwMode="gray">
          <a:xfrm>
            <a:off x="6710363" y="3084513"/>
            <a:ext cx="990600" cy="989012"/>
          </a:xfrm>
          <a:prstGeom prst="ellipse">
            <a:avLst/>
          </a:prstGeom>
          <a:noFill/>
          <a:ln w="41275" cap="flat" cmpd="sng" algn="ctr">
            <a:solidFill>
              <a:srgbClr val="FFA01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472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30" descr="Collagen-Motiv-(Kussfrau)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80"/>
          <a:stretch>
            <a:fillRect/>
          </a:stretch>
        </p:blipFill>
        <p:spPr bwMode="auto">
          <a:xfrm>
            <a:off x="0" y="60325"/>
            <a:ext cx="9144000" cy="679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bgerundetes Rechteck 8"/>
          <p:cNvSpPr/>
          <p:nvPr userDrawn="1"/>
        </p:nvSpPr>
        <p:spPr bwMode="gray">
          <a:xfrm>
            <a:off x="395287" y="1769533"/>
            <a:ext cx="8353425" cy="4747202"/>
          </a:xfrm>
          <a:prstGeom prst="roundRect">
            <a:avLst>
              <a:gd name="adj" fmla="val 5468"/>
            </a:avLst>
          </a:prstGeom>
          <a:gradFill flip="none" rotWithShape="1">
            <a:gsLst>
              <a:gs pos="0">
                <a:schemeClr val="bg1">
                  <a:alpha val="25000"/>
                </a:schemeClr>
              </a:gs>
              <a:gs pos="20000">
                <a:srgbClr val="FFFFFF">
                  <a:alpha val="78000"/>
                </a:srgbClr>
              </a:gs>
              <a:gs pos="74000">
                <a:schemeClr val="bg1">
                  <a:alpha val="43000"/>
                </a:schemeClr>
              </a:gs>
              <a:gs pos="100000">
                <a:schemeClr val="bg1">
                  <a:alpha val="2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rgbClr val="29292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C7BD98F-CB44-460A-AB0F-B78530F77C65}" type="slidenum">
              <a:rPr lang="en-US">
                <a:solidFill>
                  <a:srgbClr val="004179"/>
                </a:solidFill>
              </a:rPr>
              <a:pPr/>
              <a:t>‹#›</a:t>
            </a:fld>
            <a:endParaRPr lang="en-US">
              <a:solidFill>
                <a:srgbClr val="004179"/>
              </a:solidFill>
            </a:endParaRPr>
          </a:p>
        </p:txBody>
      </p:sp>
      <p:sp>
        <p:nvSpPr>
          <p:cNvPr id="6" name="Rechteck 21"/>
          <p:cNvSpPr/>
          <p:nvPr userDrawn="1"/>
        </p:nvSpPr>
        <p:spPr bwMode="gray">
          <a:xfrm>
            <a:off x="0" y="0"/>
            <a:ext cx="9144982" cy="821830"/>
          </a:xfrm>
          <a:custGeom>
            <a:avLst/>
            <a:gdLst>
              <a:gd name="connsiteX0" fmla="*/ 0 w 9144000"/>
              <a:gd name="connsiteY0" fmla="*/ 394689 h 1011420"/>
              <a:gd name="connsiteX1" fmla="*/ 2306652 w 9144000"/>
              <a:gd name="connsiteY1" fmla="*/ 629718 h 1011420"/>
              <a:gd name="connsiteX2" fmla="*/ 5178847 w 9144000"/>
              <a:gd name="connsiteY2" fmla="*/ 639246 h 1011420"/>
              <a:gd name="connsiteX3" fmla="*/ 9144000 w 9144000"/>
              <a:gd name="connsiteY3" fmla="*/ 664654 h 1011420"/>
              <a:gd name="connsiteX4" fmla="*/ 9144000 w 9144000"/>
              <a:gd name="connsiteY4" fmla="*/ 1011420 h 1011420"/>
              <a:gd name="connsiteX5" fmla="*/ 0 w 9144000"/>
              <a:gd name="connsiteY5" fmla="*/ 1011420 h 1011420"/>
              <a:gd name="connsiteX6" fmla="*/ 0 w 9144000"/>
              <a:gd name="connsiteY6" fmla="*/ 394689 h 1011420"/>
              <a:gd name="connsiteX7" fmla="*/ 0 w 9144000"/>
              <a:gd name="connsiteY7" fmla="*/ 0 h 1011420"/>
              <a:gd name="connsiteX8" fmla="*/ 9144000 w 9144000"/>
              <a:gd name="connsiteY8" fmla="*/ 0 h 1011420"/>
              <a:gd name="connsiteX9" fmla="*/ 9144000 w 9144000"/>
              <a:gd name="connsiteY9" fmla="*/ 416922 h 1011420"/>
              <a:gd name="connsiteX10" fmla="*/ 6141540 w 9144000"/>
              <a:gd name="connsiteY10" fmla="*/ 686887 h 1011420"/>
              <a:gd name="connsiteX11" fmla="*/ 3812648 w 9144000"/>
              <a:gd name="connsiteY11" fmla="*/ 286703 h 1011420"/>
              <a:gd name="connsiteX12" fmla="*/ 1375730 w 9144000"/>
              <a:gd name="connsiteY12" fmla="*/ 642422 h 1011420"/>
              <a:gd name="connsiteX13" fmla="*/ 0 w 9144000"/>
              <a:gd name="connsiteY13" fmla="*/ 394689 h 1011420"/>
              <a:gd name="connsiteX14" fmla="*/ 0 w 9144000"/>
              <a:gd name="connsiteY14" fmla="*/ 0 h 1011420"/>
              <a:gd name="connsiteX0" fmla="*/ 0 w 9144000"/>
              <a:gd name="connsiteY0" fmla="*/ 394689 h 1011420"/>
              <a:gd name="connsiteX1" fmla="*/ 2306652 w 9144000"/>
              <a:gd name="connsiteY1" fmla="*/ 629718 h 1011420"/>
              <a:gd name="connsiteX2" fmla="*/ 5178847 w 9144000"/>
              <a:gd name="connsiteY2" fmla="*/ 639246 h 1011420"/>
              <a:gd name="connsiteX3" fmla="*/ 9144000 w 9144000"/>
              <a:gd name="connsiteY3" fmla="*/ 664654 h 1011420"/>
              <a:gd name="connsiteX4" fmla="*/ 9144000 w 9144000"/>
              <a:gd name="connsiteY4" fmla="*/ 1011420 h 1011420"/>
              <a:gd name="connsiteX5" fmla="*/ 0 w 9144000"/>
              <a:gd name="connsiteY5" fmla="*/ 394689 h 1011420"/>
              <a:gd name="connsiteX6" fmla="*/ 0 w 9144000"/>
              <a:gd name="connsiteY6" fmla="*/ 0 h 1011420"/>
              <a:gd name="connsiteX7" fmla="*/ 9144000 w 9144000"/>
              <a:gd name="connsiteY7" fmla="*/ 0 h 1011420"/>
              <a:gd name="connsiteX8" fmla="*/ 9144000 w 9144000"/>
              <a:gd name="connsiteY8" fmla="*/ 416922 h 1011420"/>
              <a:gd name="connsiteX9" fmla="*/ 6141540 w 9144000"/>
              <a:gd name="connsiteY9" fmla="*/ 686887 h 1011420"/>
              <a:gd name="connsiteX10" fmla="*/ 3812648 w 9144000"/>
              <a:gd name="connsiteY10" fmla="*/ 286703 h 1011420"/>
              <a:gd name="connsiteX11" fmla="*/ 1375730 w 9144000"/>
              <a:gd name="connsiteY11" fmla="*/ 642422 h 1011420"/>
              <a:gd name="connsiteX12" fmla="*/ 0 w 9144000"/>
              <a:gd name="connsiteY12" fmla="*/ 394689 h 1011420"/>
              <a:gd name="connsiteX13" fmla="*/ 0 w 9144000"/>
              <a:gd name="connsiteY13" fmla="*/ 0 h 1011420"/>
              <a:gd name="connsiteX0" fmla="*/ 0 w 9144000"/>
              <a:gd name="connsiteY0" fmla="*/ 394689 h 950210"/>
              <a:gd name="connsiteX1" fmla="*/ 2306652 w 9144000"/>
              <a:gd name="connsiteY1" fmla="*/ 629718 h 950210"/>
              <a:gd name="connsiteX2" fmla="*/ 5178847 w 9144000"/>
              <a:gd name="connsiteY2" fmla="*/ 639246 h 950210"/>
              <a:gd name="connsiteX3" fmla="*/ 9144000 w 9144000"/>
              <a:gd name="connsiteY3" fmla="*/ 664654 h 950210"/>
              <a:gd name="connsiteX4" fmla="*/ 0 w 9144000"/>
              <a:gd name="connsiteY4" fmla="*/ 394689 h 950210"/>
              <a:gd name="connsiteX5" fmla="*/ 0 w 9144000"/>
              <a:gd name="connsiteY5" fmla="*/ 0 h 950210"/>
              <a:gd name="connsiteX6" fmla="*/ 9144000 w 9144000"/>
              <a:gd name="connsiteY6" fmla="*/ 0 h 950210"/>
              <a:gd name="connsiteX7" fmla="*/ 9144000 w 9144000"/>
              <a:gd name="connsiteY7" fmla="*/ 416922 h 950210"/>
              <a:gd name="connsiteX8" fmla="*/ 6141540 w 9144000"/>
              <a:gd name="connsiteY8" fmla="*/ 686887 h 950210"/>
              <a:gd name="connsiteX9" fmla="*/ 3812648 w 9144000"/>
              <a:gd name="connsiteY9" fmla="*/ 286703 h 950210"/>
              <a:gd name="connsiteX10" fmla="*/ 1375730 w 9144000"/>
              <a:gd name="connsiteY10" fmla="*/ 642422 h 950210"/>
              <a:gd name="connsiteX11" fmla="*/ 0 w 9144000"/>
              <a:gd name="connsiteY11" fmla="*/ 394689 h 950210"/>
              <a:gd name="connsiteX12" fmla="*/ 0 w 9144000"/>
              <a:gd name="connsiteY12" fmla="*/ 0 h 950210"/>
              <a:gd name="connsiteX0" fmla="*/ 0 w 9144000"/>
              <a:gd name="connsiteY0" fmla="*/ 394689 h 766858"/>
              <a:gd name="connsiteX1" fmla="*/ 2306652 w 9144000"/>
              <a:gd name="connsiteY1" fmla="*/ 629718 h 766858"/>
              <a:gd name="connsiteX2" fmla="*/ 5178847 w 9144000"/>
              <a:gd name="connsiteY2" fmla="*/ 639246 h 766858"/>
              <a:gd name="connsiteX3" fmla="*/ 0 w 9144000"/>
              <a:gd name="connsiteY3" fmla="*/ 394689 h 766858"/>
              <a:gd name="connsiteX4" fmla="*/ 0 w 9144000"/>
              <a:gd name="connsiteY4" fmla="*/ 0 h 766858"/>
              <a:gd name="connsiteX5" fmla="*/ 9144000 w 9144000"/>
              <a:gd name="connsiteY5" fmla="*/ 0 h 766858"/>
              <a:gd name="connsiteX6" fmla="*/ 9144000 w 9144000"/>
              <a:gd name="connsiteY6" fmla="*/ 416922 h 766858"/>
              <a:gd name="connsiteX7" fmla="*/ 6141540 w 9144000"/>
              <a:gd name="connsiteY7" fmla="*/ 686887 h 766858"/>
              <a:gd name="connsiteX8" fmla="*/ 3812648 w 9144000"/>
              <a:gd name="connsiteY8" fmla="*/ 286703 h 766858"/>
              <a:gd name="connsiteX9" fmla="*/ 1375730 w 9144000"/>
              <a:gd name="connsiteY9" fmla="*/ 642422 h 766858"/>
              <a:gd name="connsiteX10" fmla="*/ 0 w 9144000"/>
              <a:gd name="connsiteY10" fmla="*/ 394689 h 766858"/>
              <a:gd name="connsiteX11" fmla="*/ 0 w 9144000"/>
              <a:gd name="connsiteY11" fmla="*/ 0 h 766858"/>
              <a:gd name="connsiteX0" fmla="*/ 0 w 9144000"/>
              <a:gd name="connsiteY0" fmla="*/ 0 h 766858"/>
              <a:gd name="connsiteX1" fmla="*/ 9144000 w 9144000"/>
              <a:gd name="connsiteY1" fmla="*/ 0 h 766858"/>
              <a:gd name="connsiteX2" fmla="*/ 9144000 w 9144000"/>
              <a:gd name="connsiteY2" fmla="*/ 416922 h 766858"/>
              <a:gd name="connsiteX3" fmla="*/ 6141540 w 9144000"/>
              <a:gd name="connsiteY3" fmla="*/ 686887 h 766858"/>
              <a:gd name="connsiteX4" fmla="*/ 3812648 w 9144000"/>
              <a:gd name="connsiteY4" fmla="*/ 286703 h 766858"/>
              <a:gd name="connsiteX5" fmla="*/ 1375730 w 9144000"/>
              <a:gd name="connsiteY5" fmla="*/ 642422 h 766858"/>
              <a:gd name="connsiteX6" fmla="*/ 0 w 9144000"/>
              <a:gd name="connsiteY6" fmla="*/ 394689 h 766858"/>
              <a:gd name="connsiteX7" fmla="*/ 0 w 9144000"/>
              <a:gd name="connsiteY7" fmla="*/ 0 h 766858"/>
              <a:gd name="connsiteX8" fmla="*/ 2398092 w 9144000"/>
              <a:gd name="connsiteY8" fmla="*/ 721158 h 766858"/>
              <a:gd name="connsiteX0" fmla="*/ 0 w 9144000"/>
              <a:gd name="connsiteY0" fmla="*/ 0 h 766858"/>
              <a:gd name="connsiteX1" fmla="*/ 9144000 w 9144000"/>
              <a:gd name="connsiteY1" fmla="*/ 0 h 766858"/>
              <a:gd name="connsiteX2" fmla="*/ 9144000 w 9144000"/>
              <a:gd name="connsiteY2" fmla="*/ 416922 h 766858"/>
              <a:gd name="connsiteX3" fmla="*/ 6141540 w 9144000"/>
              <a:gd name="connsiteY3" fmla="*/ 686887 h 766858"/>
              <a:gd name="connsiteX4" fmla="*/ 3812648 w 9144000"/>
              <a:gd name="connsiteY4" fmla="*/ 286703 h 766858"/>
              <a:gd name="connsiteX5" fmla="*/ 1375730 w 9144000"/>
              <a:gd name="connsiteY5" fmla="*/ 642422 h 766858"/>
              <a:gd name="connsiteX6" fmla="*/ 0 w 9144000"/>
              <a:gd name="connsiteY6" fmla="*/ 394689 h 766858"/>
              <a:gd name="connsiteX7" fmla="*/ 0 w 9144000"/>
              <a:gd name="connsiteY7" fmla="*/ 0 h 766858"/>
              <a:gd name="connsiteX0" fmla="*/ 0 w 9144000"/>
              <a:gd name="connsiteY0" fmla="*/ 0 h 692144"/>
              <a:gd name="connsiteX1" fmla="*/ 9144000 w 9144000"/>
              <a:gd name="connsiteY1" fmla="*/ 0 h 692144"/>
              <a:gd name="connsiteX2" fmla="*/ 9144000 w 9144000"/>
              <a:gd name="connsiteY2" fmla="*/ 500742 h 692144"/>
              <a:gd name="connsiteX3" fmla="*/ 6141540 w 9144000"/>
              <a:gd name="connsiteY3" fmla="*/ 686887 h 692144"/>
              <a:gd name="connsiteX4" fmla="*/ 3812648 w 9144000"/>
              <a:gd name="connsiteY4" fmla="*/ 286703 h 692144"/>
              <a:gd name="connsiteX5" fmla="*/ 1375730 w 9144000"/>
              <a:gd name="connsiteY5" fmla="*/ 642422 h 692144"/>
              <a:gd name="connsiteX6" fmla="*/ 0 w 9144000"/>
              <a:gd name="connsiteY6" fmla="*/ 394689 h 692144"/>
              <a:gd name="connsiteX7" fmla="*/ 0 w 9144000"/>
              <a:gd name="connsiteY7" fmla="*/ 0 h 692144"/>
              <a:gd name="connsiteX0" fmla="*/ 0 w 9144000"/>
              <a:gd name="connsiteY0" fmla="*/ 0 h 804424"/>
              <a:gd name="connsiteX1" fmla="*/ 9144000 w 9144000"/>
              <a:gd name="connsiteY1" fmla="*/ 0 h 804424"/>
              <a:gd name="connsiteX2" fmla="*/ 9144000 w 9144000"/>
              <a:gd name="connsiteY2" fmla="*/ 500742 h 804424"/>
              <a:gd name="connsiteX3" fmla="*/ 6895920 w 9144000"/>
              <a:gd name="connsiteY3" fmla="*/ 801187 h 804424"/>
              <a:gd name="connsiteX4" fmla="*/ 3812648 w 9144000"/>
              <a:gd name="connsiteY4" fmla="*/ 286703 h 804424"/>
              <a:gd name="connsiteX5" fmla="*/ 1375730 w 9144000"/>
              <a:gd name="connsiteY5" fmla="*/ 642422 h 804424"/>
              <a:gd name="connsiteX6" fmla="*/ 0 w 9144000"/>
              <a:gd name="connsiteY6" fmla="*/ 394689 h 804424"/>
              <a:gd name="connsiteX7" fmla="*/ 0 w 9144000"/>
              <a:gd name="connsiteY7" fmla="*/ 0 h 804424"/>
              <a:gd name="connsiteX0" fmla="*/ 0 w 9144000"/>
              <a:gd name="connsiteY0" fmla="*/ 0 h 802352"/>
              <a:gd name="connsiteX1" fmla="*/ 9144000 w 9144000"/>
              <a:gd name="connsiteY1" fmla="*/ 0 h 802352"/>
              <a:gd name="connsiteX2" fmla="*/ 9144000 w 9144000"/>
              <a:gd name="connsiteY2" fmla="*/ 500742 h 802352"/>
              <a:gd name="connsiteX3" fmla="*/ 6895920 w 9144000"/>
              <a:gd name="connsiteY3" fmla="*/ 801187 h 802352"/>
              <a:gd name="connsiteX4" fmla="*/ 3812648 w 9144000"/>
              <a:gd name="connsiteY4" fmla="*/ 286703 h 802352"/>
              <a:gd name="connsiteX5" fmla="*/ 1375730 w 9144000"/>
              <a:gd name="connsiteY5" fmla="*/ 642422 h 802352"/>
              <a:gd name="connsiteX6" fmla="*/ 0 w 9144000"/>
              <a:gd name="connsiteY6" fmla="*/ 394689 h 802352"/>
              <a:gd name="connsiteX7" fmla="*/ 0 w 9144000"/>
              <a:gd name="connsiteY7" fmla="*/ 0 h 80235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75730 w 9144000"/>
              <a:gd name="connsiteY5" fmla="*/ 642422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86840 w 9144000"/>
              <a:gd name="connsiteY5" fmla="*/ 553974 h 805292"/>
              <a:gd name="connsiteX6" fmla="*/ 1375730 w 9144000"/>
              <a:gd name="connsiteY6" fmla="*/ 642422 h 805292"/>
              <a:gd name="connsiteX7" fmla="*/ 0 w 9144000"/>
              <a:gd name="connsiteY7" fmla="*/ 394689 h 805292"/>
              <a:gd name="connsiteX8" fmla="*/ 0 w 9144000"/>
              <a:gd name="connsiteY8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86840 w 9144000"/>
              <a:gd name="connsiteY5" fmla="*/ 55397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432560 w 9144000"/>
              <a:gd name="connsiteY5" fmla="*/ 57683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432560 w 9144000"/>
              <a:gd name="connsiteY5" fmla="*/ 57683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992"/>
              <a:gd name="connsiteX1" fmla="*/ 9144000 w 9144000"/>
              <a:gd name="connsiteY1" fmla="*/ 0 h 805992"/>
              <a:gd name="connsiteX2" fmla="*/ 9144000 w 9144000"/>
              <a:gd name="connsiteY2" fmla="*/ 500742 h 805992"/>
              <a:gd name="connsiteX3" fmla="*/ 6895920 w 9144000"/>
              <a:gd name="connsiteY3" fmla="*/ 801187 h 805992"/>
              <a:gd name="connsiteX4" fmla="*/ 3865988 w 9144000"/>
              <a:gd name="connsiteY4" fmla="*/ 233363 h 805992"/>
              <a:gd name="connsiteX5" fmla="*/ 1432560 w 9144000"/>
              <a:gd name="connsiteY5" fmla="*/ 576834 h 805992"/>
              <a:gd name="connsiteX6" fmla="*/ 0 w 9144000"/>
              <a:gd name="connsiteY6" fmla="*/ 394689 h 805992"/>
              <a:gd name="connsiteX7" fmla="*/ 0 w 9144000"/>
              <a:gd name="connsiteY7" fmla="*/ 0 h 805992"/>
              <a:gd name="connsiteX0" fmla="*/ 0 w 9144000"/>
              <a:gd name="connsiteY0" fmla="*/ 0 h 805992"/>
              <a:gd name="connsiteX1" fmla="*/ 9144000 w 9144000"/>
              <a:gd name="connsiteY1" fmla="*/ 0 h 805992"/>
              <a:gd name="connsiteX2" fmla="*/ 9144000 w 9144000"/>
              <a:gd name="connsiteY2" fmla="*/ 500742 h 805992"/>
              <a:gd name="connsiteX3" fmla="*/ 6895920 w 9144000"/>
              <a:gd name="connsiteY3" fmla="*/ 801187 h 805992"/>
              <a:gd name="connsiteX4" fmla="*/ 3865988 w 9144000"/>
              <a:gd name="connsiteY4" fmla="*/ 233363 h 805992"/>
              <a:gd name="connsiteX5" fmla="*/ 1432560 w 9144000"/>
              <a:gd name="connsiteY5" fmla="*/ 576834 h 805992"/>
              <a:gd name="connsiteX6" fmla="*/ 0 w 9144000"/>
              <a:gd name="connsiteY6" fmla="*/ 394689 h 805992"/>
              <a:gd name="connsiteX7" fmla="*/ 0 w 9144000"/>
              <a:gd name="connsiteY7" fmla="*/ 0 h 805992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390650 w 9144000"/>
              <a:gd name="connsiteY5" fmla="*/ 627634 h 810959"/>
              <a:gd name="connsiteX6" fmla="*/ 1432560 w 9144000"/>
              <a:gd name="connsiteY6" fmla="*/ 57683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390650 w 9144000"/>
              <a:gd name="connsiteY5" fmla="*/ 62763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25600 w 9144000"/>
              <a:gd name="connsiteY5" fmla="*/ 6212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48046 w 9192046"/>
              <a:gd name="connsiteY0" fmla="*/ 0 h 810959"/>
              <a:gd name="connsiteX1" fmla="*/ 9192046 w 9192046"/>
              <a:gd name="connsiteY1" fmla="*/ 0 h 810959"/>
              <a:gd name="connsiteX2" fmla="*/ 9192046 w 9192046"/>
              <a:gd name="connsiteY2" fmla="*/ 500742 h 810959"/>
              <a:gd name="connsiteX3" fmla="*/ 6943966 w 9192046"/>
              <a:gd name="connsiteY3" fmla="*/ 801187 h 810959"/>
              <a:gd name="connsiteX4" fmla="*/ 3914034 w 9192046"/>
              <a:gd name="connsiteY4" fmla="*/ 233363 h 810959"/>
              <a:gd name="connsiteX5" fmla="*/ 1673646 w 9192046"/>
              <a:gd name="connsiteY5" fmla="*/ 621284 h 810959"/>
              <a:gd name="connsiteX6" fmla="*/ 915456 w 9192046"/>
              <a:gd name="connsiteY6" fmla="*/ 633984 h 810959"/>
              <a:gd name="connsiteX7" fmla="*/ 54396 w 9192046"/>
              <a:gd name="connsiteY7" fmla="*/ 456184 h 810959"/>
              <a:gd name="connsiteX8" fmla="*/ 79796 w 9192046"/>
              <a:gd name="connsiteY8" fmla="*/ 458189 h 810959"/>
              <a:gd name="connsiteX9" fmla="*/ 48046 w 9192046"/>
              <a:gd name="connsiteY9" fmla="*/ 0 h 810959"/>
              <a:gd name="connsiteX0" fmla="*/ 59284 w 9203284"/>
              <a:gd name="connsiteY0" fmla="*/ 0 h 810959"/>
              <a:gd name="connsiteX1" fmla="*/ 9203284 w 9203284"/>
              <a:gd name="connsiteY1" fmla="*/ 0 h 810959"/>
              <a:gd name="connsiteX2" fmla="*/ 9203284 w 9203284"/>
              <a:gd name="connsiteY2" fmla="*/ 500742 h 810959"/>
              <a:gd name="connsiteX3" fmla="*/ 6955204 w 9203284"/>
              <a:gd name="connsiteY3" fmla="*/ 801187 h 810959"/>
              <a:gd name="connsiteX4" fmla="*/ 3925272 w 9203284"/>
              <a:gd name="connsiteY4" fmla="*/ 233363 h 810959"/>
              <a:gd name="connsiteX5" fmla="*/ 1684884 w 9203284"/>
              <a:gd name="connsiteY5" fmla="*/ 621284 h 810959"/>
              <a:gd name="connsiteX6" fmla="*/ 926694 w 9203284"/>
              <a:gd name="connsiteY6" fmla="*/ 633984 h 810959"/>
              <a:gd name="connsiteX7" fmla="*/ 65634 w 9203284"/>
              <a:gd name="connsiteY7" fmla="*/ 456184 h 810959"/>
              <a:gd name="connsiteX8" fmla="*/ 59284 w 9203284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25600 w 9144000"/>
              <a:gd name="connsiteY5" fmla="*/ 621284 h 810959"/>
              <a:gd name="connsiteX6" fmla="*/ 867410 w 9144000"/>
              <a:gd name="connsiteY6" fmla="*/ 633984 h 810959"/>
              <a:gd name="connsiteX7" fmla="*/ 6350 w 9144000"/>
              <a:gd name="connsiteY7" fmla="*/ 456184 h 810959"/>
              <a:gd name="connsiteX8" fmla="*/ 0 w 9144000"/>
              <a:gd name="connsiteY8" fmla="*/ 0 h 810959"/>
              <a:gd name="connsiteX0" fmla="*/ 19050 w 9163050"/>
              <a:gd name="connsiteY0" fmla="*/ 0 h 810959"/>
              <a:gd name="connsiteX1" fmla="*/ 9163050 w 9163050"/>
              <a:gd name="connsiteY1" fmla="*/ 0 h 810959"/>
              <a:gd name="connsiteX2" fmla="*/ 9163050 w 9163050"/>
              <a:gd name="connsiteY2" fmla="*/ 500742 h 810959"/>
              <a:gd name="connsiteX3" fmla="*/ 6914970 w 9163050"/>
              <a:gd name="connsiteY3" fmla="*/ 801187 h 810959"/>
              <a:gd name="connsiteX4" fmla="*/ 3885038 w 9163050"/>
              <a:gd name="connsiteY4" fmla="*/ 233363 h 810959"/>
              <a:gd name="connsiteX5" fmla="*/ 1644650 w 9163050"/>
              <a:gd name="connsiteY5" fmla="*/ 621284 h 810959"/>
              <a:gd name="connsiteX6" fmla="*/ 886460 w 9163050"/>
              <a:gd name="connsiteY6" fmla="*/ 633984 h 810959"/>
              <a:gd name="connsiteX7" fmla="*/ 0 w 9163050"/>
              <a:gd name="connsiteY7" fmla="*/ 449834 h 810959"/>
              <a:gd name="connsiteX8" fmla="*/ 19050 w 91630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31950 w 9150350"/>
              <a:gd name="connsiteY5" fmla="*/ 621284 h 810959"/>
              <a:gd name="connsiteX6" fmla="*/ 873760 w 9150350"/>
              <a:gd name="connsiteY6" fmla="*/ 6339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31950 w 9150350"/>
              <a:gd name="connsiteY5" fmla="*/ 6212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19250 w 9150350"/>
              <a:gd name="connsiteY5" fmla="*/ 5831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19250 w 9150350"/>
              <a:gd name="connsiteY5" fmla="*/ 5831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19250 w 9150350"/>
              <a:gd name="connsiteY5" fmla="*/ 583184 h 802448"/>
              <a:gd name="connsiteX6" fmla="*/ 867410 w 9150350"/>
              <a:gd name="connsiteY6" fmla="*/ 583184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50246 w 9150350"/>
              <a:gd name="connsiteY5" fmla="*/ 699421 h 802448"/>
              <a:gd name="connsiteX6" fmla="*/ 867410 w 9150350"/>
              <a:gd name="connsiteY6" fmla="*/ 583184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50246 w 9150350"/>
              <a:gd name="connsiteY5" fmla="*/ 699421 h 802448"/>
              <a:gd name="connsiteX6" fmla="*/ 859660 w 9150350"/>
              <a:gd name="connsiteY6" fmla="*/ 699422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16313"/>
              <a:gd name="connsiteX1" fmla="*/ 9144000 w 9144000"/>
              <a:gd name="connsiteY1" fmla="*/ 0 h 816313"/>
              <a:gd name="connsiteX2" fmla="*/ 9144000 w 9144000"/>
              <a:gd name="connsiteY2" fmla="*/ 500742 h 816313"/>
              <a:gd name="connsiteX3" fmla="*/ 6895920 w 9144000"/>
              <a:gd name="connsiteY3" fmla="*/ 801187 h 816313"/>
              <a:gd name="connsiteX4" fmla="*/ 3935730 w 9144000"/>
              <a:gd name="connsiteY4" fmla="*/ 372848 h 816313"/>
              <a:gd name="connsiteX5" fmla="*/ 1643896 w 9144000"/>
              <a:gd name="connsiteY5" fmla="*/ 699421 h 816313"/>
              <a:gd name="connsiteX6" fmla="*/ 853310 w 9144000"/>
              <a:gd name="connsiteY6" fmla="*/ 699422 h 816313"/>
              <a:gd name="connsiteX7" fmla="*/ 1399 w 9144000"/>
              <a:gd name="connsiteY7" fmla="*/ 508921 h 816313"/>
              <a:gd name="connsiteX8" fmla="*/ 0 w 9144000"/>
              <a:gd name="connsiteY8" fmla="*/ 0 h 816313"/>
              <a:gd name="connsiteX0" fmla="*/ 0 w 9144000"/>
              <a:gd name="connsiteY0" fmla="*/ 0 h 821830"/>
              <a:gd name="connsiteX1" fmla="*/ 9144000 w 9144000"/>
              <a:gd name="connsiteY1" fmla="*/ 0 h 821830"/>
              <a:gd name="connsiteX2" fmla="*/ 9144000 w 9144000"/>
              <a:gd name="connsiteY2" fmla="*/ 500742 h 821830"/>
              <a:gd name="connsiteX3" fmla="*/ 6895920 w 9144000"/>
              <a:gd name="connsiteY3" fmla="*/ 801187 h 821830"/>
              <a:gd name="connsiteX4" fmla="*/ 3935730 w 9144000"/>
              <a:gd name="connsiteY4" fmla="*/ 372848 h 821830"/>
              <a:gd name="connsiteX5" fmla="*/ 1643896 w 9144000"/>
              <a:gd name="connsiteY5" fmla="*/ 699421 h 821830"/>
              <a:gd name="connsiteX6" fmla="*/ 853310 w 9144000"/>
              <a:gd name="connsiteY6" fmla="*/ 699422 h 821830"/>
              <a:gd name="connsiteX7" fmla="*/ 1399 w 9144000"/>
              <a:gd name="connsiteY7" fmla="*/ 508921 h 821830"/>
              <a:gd name="connsiteX8" fmla="*/ 0 w 9144000"/>
              <a:gd name="connsiteY8" fmla="*/ 0 h 821830"/>
              <a:gd name="connsiteX0" fmla="*/ 5745 w 9149745"/>
              <a:gd name="connsiteY0" fmla="*/ 0 h 821830"/>
              <a:gd name="connsiteX1" fmla="*/ 9149745 w 9149745"/>
              <a:gd name="connsiteY1" fmla="*/ 0 h 821830"/>
              <a:gd name="connsiteX2" fmla="*/ 9149745 w 9149745"/>
              <a:gd name="connsiteY2" fmla="*/ 500742 h 821830"/>
              <a:gd name="connsiteX3" fmla="*/ 6901665 w 9149745"/>
              <a:gd name="connsiteY3" fmla="*/ 801187 h 821830"/>
              <a:gd name="connsiteX4" fmla="*/ 3941475 w 9149745"/>
              <a:gd name="connsiteY4" fmla="*/ 372848 h 821830"/>
              <a:gd name="connsiteX5" fmla="*/ 1649641 w 9149745"/>
              <a:gd name="connsiteY5" fmla="*/ 699421 h 821830"/>
              <a:gd name="connsiteX6" fmla="*/ 859055 w 9149745"/>
              <a:gd name="connsiteY6" fmla="*/ 699422 h 821830"/>
              <a:gd name="connsiteX7" fmla="*/ 0 w 9149745"/>
              <a:gd name="connsiteY7" fmla="*/ 516065 h 821830"/>
              <a:gd name="connsiteX8" fmla="*/ 5745 w 9149745"/>
              <a:gd name="connsiteY8" fmla="*/ 0 h 821830"/>
              <a:gd name="connsiteX0" fmla="*/ 5745 w 9149745"/>
              <a:gd name="connsiteY0" fmla="*/ 0 h 821830"/>
              <a:gd name="connsiteX1" fmla="*/ 9149745 w 9149745"/>
              <a:gd name="connsiteY1" fmla="*/ 0 h 821830"/>
              <a:gd name="connsiteX2" fmla="*/ 9149745 w 9149745"/>
              <a:gd name="connsiteY2" fmla="*/ 500742 h 821830"/>
              <a:gd name="connsiteX3" fmla="*/ 6901665 w 9149745"/>
              <a:gd name="connsiteY3" fmla="*/ 801187 h 821830"/>
              <a:gd name="connsiteX4" fmla="*/ 3941475 w 9149745"/>
              <a:gd name="connsiteY4" fmla="*/ 372848 h 821830"/>
              <a:gd name="connsiteX5" fmla="*/ 1649641 w 9149745"/>
              <a:gd name="connsiteY5" fmla="*/ 699421 h 821830"/>
              <a:gd name="connsiteX6" fmla="*/ 859055 w 9149745"/>
              <a:gd name="connsiteY6" fmla="*/ 699422 h 821830"/>
              <a:gd name="connsiteX7" fmla="*/ 0 w 9149745"/>
              <a:gd name="connsiteY7" fmla="*/ 516065 h 821830"/>
              <a:gd name="connsiteX8" fmla="*/ 5745 w 9149745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16065 h 821830"/>
              <a:gd name="connsiteX8" fmla="*/ 3364 w 9147364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27971 h 821830"/>
              <a:gd name="connsiteX8" fmla="*/ 3364 w 9147364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27971 h 821830"/>
              <a:gd name="connsiteX8" fmla="*/ 3364 w 9147364"/>
              <a:gd name="connsiteY8" fmla="*/ 0 h 821830"/>
              <a:gd name="connsiteX0" fmla="*/ 0 w 9144000"/>
              <a:gd name="connsiteY0" fmla="*/ 0 h 821830"/>
              <a:gd name="connsiteX1" fmla="*/ 9144000 w 9144000"/>
              <a:gd name="connsiteY1" fmla="*/ 0 h 821830"/>
              <a:gd name="connsiteX2" fmla="*/ 9144000 w 9144000"/>
              <a:gd name="connsiteY2" fmla="*/ 500742 h 821830"/>
              <a:gd name="connsiteX3" fmla="*/ 6895920 w 9144000"/>
              <a:gd name="connsiteY3" fmla="*/ 801187 h 821830"/>
              <a:gd name="connsiteX4" fmla="*/ 3935730 w 9144000"/>
              <a:gd name="connsiteY4" fmla="*/ 372848 h 821830"/>
              <a:gd name="connsiteX5" fmla="*/ 1643896 w 9144000"/>
              <a:gd name="connsiteY5" fmla="*/ 699421 h 821830"/>
              <a:gd name="connsiteX6" fmla="*/ 853310 w 9144000"/>
              <a:gd name="connsiteY6" fmla="*/ 699422 h 821830"/>
              <a:gd name="connsiteX7" fmla="*/ 44262 w 9144000"/>
              <a:gd name="connsiteY7" fmla="*/ 508921 h 821830"/>
              <a:gd name="connsiteX8" fmla="*/ 0 w 9144000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982" h="821830">
                <a:close/>
                <a:moveTo>
                  <a:pt x="982" y="0"/>
                </a:moveTo>
                <a:lnTo>
                  <a:pt x="9144982" y="0"/>
                </a:lnTo>
                <a:lnTo>
                  <a:pt x="9144982" y="500742"/>
                </a:lnTo>
                <a:cubicBezTo>
                  <a:pt x="8989299" y="567439"/>
                  <a:pt x="8212622" y="908228"/>
                  <a:pt x="6896902" y="801187"/>
                </a:cubicBezTo>
                <a:cubicBezTo>
                  <a:pt x="5581182" y="694146"/>
                  <a:pt x="4812049" y="389809"/>
                  <a:pt x="3936712" y="372848"/>
                </a:cubicBezTo>
                <a:cubicBezTo>
                  <a:pt x="3061375" y="355887"/>
                  <a:pt x="2650524" y="615188"/>
                  <a:pt x="1644878" y="699421"/>
                </a:cubicBezTo>
                <a:cubicBezTo>
                  <a:pt x="1300425" y="734441"/>
                  <a:pt x="1145069" y="712052"/>
                  <a:pt x="854292" y="699422"/>
                </a:cubicBezTo>
                <a:cubicBezTo>
                  <a:pt x="591825" y="672964"/>
                  <a:pt x="142187" y="600298"/>
                  <a:pt x="0" y="532734"/>
                </a:cubicBezTo>
                <a:cubicBezTo>
                  <a:pt x="688" y="518351"/>
                  <a:pt x="2305" y="95038"/>
                  <a:pt x="982" y="0"/>
                </a:cubicBezTo>
              </a:path>
            </a:pathLst>
          </a:custGeom>
          <a:gradFill flip="none" rotWithShape="1">
            <a:gsLst>
              <a:gs pos="0">
                <a:srgbClr val="DBDBDB"/>
              </a:gs>
              <a:gs pos="78000">
                <a:srgbClr val="FFFFFF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7" name="Bild 8" descr="Logo-mit-Claim_Innenseit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242810" y="221897"/>
            <a:ext cx="121285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Freeform 12"/>
          <p:cNvSpPr>
            <a:spLocks/>
          </p:cNvSpPr>
          <p:nvPr userDrawn="1"/>
        </p:nvSpPr>
        <p:spPr bwMode="gray">
          <a:xfrm>
            <a:off x="-6350" y="255769"/>
            <a:ext cx="9154800" cy="712875"/>
          </a:xfrm>
          <a:custGeom>
            <a:avLst/>
            <a:gdLst>
              <a:gd name="T0" fmla="*/ 2880 w 2880"/>
              <a:gd name="T1" fmla="*/ 67 h 224"/>
              <a:gd name="T2" fmla="*/ 1955 w 2880"/>
              <a:gd name="T3" fmla="*/ 130 h 224"/>
              <a:gd name="T4" fmla="*/ 1212 w 2880"/>
              <a:gd name="T5" fmla="*/ 24 h 224"/>
              <a:gd name="T6" fmla="*/ 433 w 2880"/>
              <a:gd name="T7" fmla="*/ 137 h 224"/>
              <a:gd name="T8" fmla="*/ 0 w 2880"/>
              <a:gd name="T9" fmla="*/ 67 h 224"/>
              <a:gd name="T10" fmla="*/ 1 w 2880"/>
              <a:gd name="T11" fmla="*/ 96 h 224"/>
              <a:gd name="T12" fmla="*/ 753 w 2880"/>
              <a:gd name="T13" fmla="*/ 108 h 224"/>
              <a:gd name="T14" fmla="*/ 1561 w 2880"/>
              <a:gd name="T15" fmla="*/ 80 h 224"/>
              <a:gd name="T16" fmla="*/ 2022 w 2880"/>
              <a:gd name="T17" fmla="*/ 160 h 224"/>
              <a:gd name="T18" fmla="*/ 2880 w 2880"/>
              <a:gd name="T19" fmla="*/ 114 h 224"/>
              <a:gd name="T20" fmla="*/ 2880 w 2880"/>
              <a:gd name="T21" fmla="*/ 67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880" h="224">
                <a:moveTo>
                  <a:pt x="2880" y="67"/>
                </a:moveTo>
                <a:cubicBezTo>
                  <a:pt x="2737" y="127"/>
                  <a:pt x="2450" y="206"/>
                  <a:pt x="1955" y="130"/>
                </a:cubicBezTo>
                <a:cubicBezTo>
                  <a:pt x="1571" y="69"/>
                  <a:pt x="1424" y="24"/>
                  <a:pt x="1212" y="24"/>
                </a:cubicBezTo>
                <a:cubicBezTo>
                  <a:pt x="932" y="24"/>
                  <a:pt x="775" y="136"/>
                  <a:pt x="433" y="137"/>
                </a:cubicBezTo>
                <a:cubicBezTo>
                  <a:pt x="184" y="140"/>
                  <a:pt x="0" y="67"/>
                  <a:pt x="0" y="67"/>
                </a:cubicBezTo>
                <a:cubicBezTo>
                  <a:pt x="1" y="96"/>
                  <a:pt x="1" y="96"/>
                  <a:pt x="1" y="96"/>
                </a:cubicBezTo>
                <a:cubicBezTo>
                  <a:pt x="1" y="96"/>
                  <a:pt x="346" y="205"/>
                  <a:pt x="753" y="108"/>
                </a:cubicBezTo>
                <a:cubicBezTo>
                  <a:pt x="1208" y="0"/>
                  <a:pt x="1340" y="47"/>
                  <a:pt x="1561" y="80"/>
                </a:cubicBezTo>
                <a:cubicBezTo>
                  <a:pt x="1627" y="90"/>
                  <a:pt x="1869" y="140"/>
                  <a:pt x="2022" y="160"/>
                </a:cubicBezTo>
                <a:cubicBezTo>
                  <a:pt x="2514" y="224"/>
                  <a:pt x="2716" y="161"/>
                  <a:pt x="2880" y="114"/>
                </a:cubicBezTo>
                <a:cubicBezTo>
                  <a:pt x="2880" y="67"/>
                  <a:pt x="2880" y="67"/>
                  <a:pt x="2880" y="67"/>
                </a:cubicBezTo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charset="0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395287" y="6599241"/>
            <a:ext cx="317586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US" sz="900" dirty="0">
                <a:solidFill>
                  <a:srgbClr val="004179"/>
                </a:solidFill>
              </a:rPr>
              <a:t>© 2015 GELITA AG. Any copies need to be authorized by GELITA</a:t>
            </a:r>
          </a:p>
        </p:txBody>
      </p:sp>
    </p:spTree>
    <p:extLst>
      <p:ext uri="{BB962C8B-B14F-4D97-AF65-F5344CB8AC3E}">
        <p14:creationId xmlns:p14="http://schemas.microsoft.com/office/powerpoint/2010/main" val="2007304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 11" descr="Gelatine-Motiv-(Trauben)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6350" y="0"/>
            <a:ext cx="9150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Oval 7"/>
          <p:cNvSpPr/>
          <p:nvPr userDrawn="1"/>
        </p:nvSpPr>
        <p:spPr>
          <a:xfrm>
            <a:off x="5791200" y="3467100"/>
            <a:ext cx="1260475" cy="1260475"/>
          </a:xfrm>
          <a:prstGeom prst="ellipse">
            <a:avLst/>
          </a:prstGeom>
          <a:noFill/>
          <a:ln w="38100" cap="flat" cmpd="sng" algn="ctr">
            <a:solidFill>
              <a:srgbClr val="FFA01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9" name="Abgerundetes Rechteck 8"/>
          <p:cNvSpPr/>
          <p:nvPr userDrawn="1"/>
        </p:nvSpPr>
        <p:spPr bwMode="gray">
          <a:xfrm>
            <a:off x="395287" y="1769533"/>
            <a:ext cx="8353425" cy="4747202"/>
          </a:xfrm>
          <a:prstGeom prst="roundRect">
            <a:avLst>
              <a:gd name="adj" fmla="val 5468"/>
            </a:avLst>
          </a:prstGeom>
          <a:gradFill flip="none" rotWithShape="1">
            <a:gsLst>
              <a:gs pos="0">
                <a:schemeClr val="bg1">
                  <a:alpha val="25000"/>
                </a:schemeClr>
              </a:gs>
              <a:gs pos="20000">
                <a:srgbClr val="FFFFFF">
                  <a:alpha val="78000"/>
                </a:srgbClr>
              </a:gs>
              <a:gs pos="74000">
                <a:schemeClr val="bg1">
                  <a:alpha val="43000"/>
                </a:schemeClr>
              </a:gs>
              <a:gs pos="100000">
                <a:schemeClr val="bg1">
                  <a:alpha val="2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rgbClr val="29292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C7BD98F-CB44-460A-AB0F-B78530F77C65}" type="slidenum">
              <a:rPr lang="en-US">
                <a:solidFill>
                  <a:srgbClr val="004179"/>
                </a:solidFill>
              </a:rPr>
              <a:pPr/>
              <a:t>‹#›</a:t>
            </a:fld>
            <a:endParaRPr lang="en-US">
              <a:solidFill>
                <a:srgbClr val="004179"/>
              </a:solidFill>
            </a:endParaRPr>
          </a:p>
        </p:txBody>
      </p:sp>
      <p:sp>
        <p:nvSpPr>
          <p:cNvPr id="6" name="Rechteck 21"/>
          <p:cNvSpPr/>
          <p:nvPr userDrawn="1"/>
        </p:nvSpPr>
        <p:spPr bwMode="gray">
          <a:xfrm>
            <a:off x="0" y="0"/>
            <a:ext cx="9144982" cy="821830"/>
          </a:xfrm>
          <a:custGeom>
            <a:avLst/>
            <a:gdLst>
              <a:gd name="connsiteX0" fmla="*/ 0 w 9144000"/>
              <a:gd name="connsiteY0" fmla="*/ 394689 h 1011420"/>
              <a:gd name="connsiteX1" fmla="*/ 2306652 w 9144000"/>
              <a:gd name="connsiteY1" fmla="*/ 629718 h 1011420"/>
              <a:gd name="connsiteX2" fmla="*/ 5178847 w 9144000"/>
              <a:gd name="connsiteY2" fmla="*/ 639246 h 1011420"/>
              <a:gd name="connsiteX3" fmla="*/ 9144000 w 9144000"/>
              <a:gd name="connsiteY3" fmla="*/ 664654 h 1011420"/>
              <a:gd name="connsiteX4" fmla="*/ 9144000 w 9144000"/>
              <a:gd name="connsiteY4" fmla="*/ 1011420 h 1011420"/>
              <a:gd name="connsiteX5" fmla="*/ 0 w 9144000"/>
              <a:gd name="connsiteY5" fmla="*/ 1011420 h 1011420"/>
              <a:gd name="connsiteX6" fmla="*/ 0 w 9144000"/>
              <a:gd name="connsiteY6" fmla="*/ 394689 h 1011420"/>
              <a:gd name="connsiteX7" fmla="*/ 0 w 9144000"/>
              <a:gd name="connsiteY7" fmla="*/ 0 h 1011420"/>
              <a:gd name="connsiteX8" fmla="*/ 9144000 w 9144000"/>
              <a:gd name="connsiteY8" fmla="*/ 0 h 1011420"/>
              <a:gd name="connsiteX9" fmla="*/ 9144000 w 9144000"/>
              <a:gd name="connsiteY9" fmla="*/ 416922 h 1011420"/>
              <a:gd name="connsiteX10" fmla="*/ 6141540 w 9144000"/>
              <a:gd name="connsiteY10" fmla="*/ 686887 h 1011420"/>
              <a:gd name="connsiteX11" fmla="*/ 3812648 w 9144000"/>
              <a:gd name="connsiteY11" fmla="*/ 286703 h 1011420"/>
              <a:gd name="connsiteX12" fmla="*/ 1375730 w 9144000"/>
              <a:gd name="connsiteY12" fmla="*/ 642422 h 1011420"/>
              <a:gd name="connsiteX13" fmla="*/ 0 w 9144000"/>
              <a:gd name="connsiteY13" fmla="*/ 394689 h 1011420"/>
              <a:gd name="connsiteX14" fmla="*/ 0 w 9144000"/>
              <a:gd name="connsiteY14" fmla="*/ 0 h 1011420"/>
              <a:gd name="connsiteX0" fmla="*/ 0 w 9144000"/>
              <a:gd name="connsiteY0" fmla="*/ 394689 h 1011420"/>
              <a:gd name="connsiteX1" fmla="*/ 2306652 w 9144000"/>
              <a:gd name="connsiteY1" fmla="*/ 629718 h 1011420"/>
              <a:gd name="connsiteX2" fmla="*/ 5178847 w 9144000"/>
              <a:gd name="connsiteY2" fmla="*/ 639246 h 1011420"/>
              <a:gd name="connsiteX3" fmla="*/ 9144000 w 9144000"/>
              <a:gd name="connsiteY3" fmla="*/ 664654 h 1011420"/>
              <a:gd name="connsiteX4" fmla="*/ 9144000 w 9144000"/>
              <a:gd name="connsiteY4" fmla="*/ 1011420 h 1011420"/>
              <a:gd name="connsiteX5" fmla="*/ 0 w 9144000"/>
              <a:gd name="connsiteY5" fmla="*/ 394689 h 1011420"/>
              <a:gd name="connsiteX6" fmla="*/ 0 w 9144000"/>
              <a:gd name="connsiteY6" fmla="*/ 0 h 1011420"/>
              <a:gd name="connsiteX7" fmla="*/ 9144000 w 9144000"/>
              <a:gd name="connsiteY7" fmla="*/ 0 h 1011420"/>
              <a:gd name="connsiteX8" fmla="*/ 9144000 w 9144000"/>
              <a:gd name="connsiteY8" fmla="*/ 416922 h 1011420"/>
              <a:gd name="connsiteX9" fmla="*/ 6141540 w 9144000"/>
              <a:gd name="connsiteY9" fmla="*/ 686887 h 1011420"/>
              <a:gd name="connsiteX10" fmla="*/ 3812648 w 9144000"/>
              <a:gd name="connsiteY10" fmla="*/ 286703 h 1011420"/>
              <a:gd name="connsiteX11" fmla="*/ 1375730 w 9144000"/>
              <a:gd name="connsiteY11" fmla="*/ 642422 h 1011420"/>
              <a:gd name="connsiteX12" fmla="*/ 0 w 9144000"/>
              <a:gd name="connsiteY12" fmla="*/ 394689 h 1011420"/>
              <a:gd name="connsiteX13" fmla="*/ 0 w 9144000"/>
              <a:gd name="connsiteY13" fmla="*/ 0 h 1011420"/>
              <a:gd name="connsiteX0" fmla="*/ 0 w 9144000"/>
              <a:gd name="connsiteY0" fmla="*/ 394689 h 950210"/>
              <a:gd name="connsiteX1" fmla="*/ 2306652 w 9144000"/>
              <a:gd name="connsiteY1" fmla="*/ 629718 h 950210"/>
              <a:gd name="connsiteX2" fmla="*/ 5178847 w 9144000"/>
              <a:gd name="connsiteY2" fmla="*/ 639246 h 950210"/>
              <a:gd name="connsiteX3" fmla="*/ 9144000 w 9144000"/>
              <a:gd name="connsiteY3" fmla="*/ 664654 h 950210"/>
              <a:gd name="connsiteX4" fmla="*/ 0 w 9144000"/>
              <a:gd name="connsiteY4" fmla="*/ 394689 h 950210"/>
              <a:gd name="connsiteX5" fmla="*/ 0 w 9144000"/>
              <a:gd name="connsiteY5" fmla="*/ 0 h 950210"/>
              <a:gd name="connsiteX6" fmla="*/ 9144000 w 9144000"/>
              <a:gd name="connsiteY6" fmla="*/ 0 h 950210"/>
              <a:gd name="connsiteX7" fmla="*/ 9144000 w 9144000"/>
              <a:gd name="connsiteY7" fmla="*/ 416922 h 950210"/>
              <a:gd name="connsiteX8" fmla="*/ 6141540 w 9144000"/>
              <a:gd name="connsiteY8" fmla="*/ 686887 h 950210"/>
              <a:gd name="connsiteX9" fmla="*/ 3812648 w 9144000"/>
              <a:gd name="connsiteY9" fmla="*/ 286703 h 950210"/>
              <a:gd name="connsiteX10" fmla="*/ 1375730 w 9144000"/>
              <a:gd name="connsiteY10" fmla="*/ 642422 h 950210"/>
              <a:gd name="connsiteX11" fmla="*/ 0 w 9144000"/>
              <a:gd name="connsiteY11" fmla="*/ 394689 h 950210"/>
              <a:gd name="connsiteX12" fmla="*/ 0 w 9144000"/>
              <a:gd name="connsiteY12" fmla="*/ 0 h 950210"/>
              <a:gd name="connsiteX0" fmla="*/ 0 w 9144000"/>
              <a:gd name="connsiteY0" fmla="*/ 394689 h 766858"/>
              <a:gd name="connsiteX1" fmla="*/ 2306652 w 9144000"/>
              <a:gd name="connsiteY1" fmla="*/ 629718 h 766858"/>
              <a:gd name="connsiteX2" fmla="*/ 5178847 w 9144000"/>
              <a:gd name="connsiteY2" fmla="*/ 639246 h 766858"/>
              <a:gd name="connsiteX3" fmla="*/ 0 w 9144000"/>
              <a:gd name="connsiteY3" fmla="*/ 394689 h 766858"/>
              <a:gd name="connsiteX4" fmla="*/ 0 w 9144000"/>
              <a:gd name="connsiteY4" fmla="*/ 0 h 766858"/>
              <a:gd name="connsiteX5" fmla="*/ 9144000 w 9144000"/>
              <a:gd name="connsiteY5" fmla="*/ 0 h 766858"/>
              <a:gd name="connsiteX6" fmla="*/ 9144000 w 9144000"/>
              <a:gd name="connsiteY6" fmla="*/ 416922 h 766858"/>
              <a:gd name="connsiteX7" fmla="*/ 6141540 w 9144000"/>
              <a:gd name="connsiteY7" fmla="*/ 686887 h 766858"/>
              <a:gd name="connsiteX8" fmla="*/ 3812648 w 9144000"/>
              <a:gd name="connsiteY8" fmla="*/ 286703 h 766858"/>
              <a:gd name="connsiteX9" fmla="*/ 1375730 w 9144000"/>
              <a:gd name="connsiteY9" fmla="*/ 642422 h 766858"/>
              <a:gd name="connsiteX10" fmla="*/ 0 w 9144000"/>
              <a:gd name="connsiteY10" fmla="*/ 394689 h 766858"/>
              <a:gd name="connsiteX11" fmla="*/ 0 w 9144000"/>
              <a:gd name="connsiteY11" fmla="*/ 0 h 766858"/>
              <a:gd name="connsiteX0" fmla="*/ 0 w 9144000"/>
              <a:gd name="connsiteY0" fmla="*/ 0 h 766858"/>
              <a:gd name="connsiteX1" fmla="*/ 9144000 w 9144000"/>
              <a:gd name="connsiteY1" fmla="*/ 0 h 766858"/>
              <a:gd name="connsiteX2" fmla="*/ 9144000 w 9144000"/>
              <a:gd name="connsiteY2" fmla="*/ 416922 h 766858"/>
              <a:gd name="connsiteX3" fmla="*/ 6141540 w 9144000"/>
              <a:gd name="connsiteY3" fmla="*/ 686887 h 766858"/>
              <a:gd name="connsiteX4" fmla="*/ 3812648 w 9144000"/>
              <a:gd name="connsiteY4" fmla="*/ 286703 h 766858"/>
              <a:gd name="connsiteX5" fmla="*/ 1375730 w 9144000"/>
              <a:gd name="connsiteY5" fmla="*/ 642422 h 766858"/>
              <a:gd name="connsiteX6" fmla="*/ 0 w 9144000"/>
              <a:gd name="connsiteY6" fmla="*/ 394689 h 766858"/>
              <a:gd name="connsiteX7" fmla="*/ 0 w 9144000"/>
              <a:gd name="connsiteY7" fmla="*/ 0 h 766858"/>
              <a:gd name="connsiteX8" fmla="*/ 2398092 w 9144000"/>
              <a:gd name="connsiteY8" fmla="*/ 721158 h 766858"/>
              <a:gd name="connsiteX0" fmla="*/ 0 w 9144000"/>
              <a:gd name="connsiteY0" fmla="*/ 0 h 766858"/>
              <a:gd name="connsiteX1" fmla="*/ 9144000 w 9144000"/>
              <a:gd name="connsiteY1" fmla="*/ 0 h 766858"/>
              <a:gd name="connsiteX2" fmla="*/ 9144000 w 9144000"/>
              <a:gd name="connsiteY2" fmla="*/ 416922 h 766858"/>
              <a:gd name="connsiteX3" fmla="*/ 6141540 w 9144000"/>
              <a:gd name="connsiteY3" fmla="*/ 686887 h 766858"/>
              <a:gd name="connsiteX4" fmla="*/ 3812648 w 9144000"/>
              <a:gd name="connsiteY4" fmla="*/ 286703 h 766858"/>
              <a:gd name="connsiteX5" fmla="*/ 1375730 w 9144000"/>
              <a:gd name="connsiteY5" fmla="*/ 642422 h 766858"/>
              <a:gd name="connsiteX6" fmla="*/ 0 w 9144000"/>
              <a:gd name="connsiteY6" fmla="*/ 394689 h 766858"/>
              <a:gd name="connsiteX7" fmla="*/ 0 w 9144000"/>
              <a:gd name="connsiteY7" fmla="*/ 0 h 766858"/>
              <a:gd name="connsiteX0" fmla="*/ 0 w 9144000"/>
              <a:gd name="connsiteY0" fmla="*/ 0 h 692144"/>
              <a:gd name="connsiteX1" fmla="*/ 9144000 w 9144000"/>
              <a:gd name="connsiteY1" fmla="*/ 0 h 692144"/>
              <a:gd name="connsiteX2" fmla="*/ 9144000 w 9144000"/>
              <a:gd name="connsiteY2" fmla="*/ 500742 h 692144"/>
              <a:gd name="connsiteX3" fmla="*/ 6141540 w 9144000"/>
              <a:gd name="connsiteY3" fmla="*/ 686887 h 692144"/>
              <a:gd name="connsiteX4" fmla="*/ 3812648 w 9144000"/>
              <a:gd name="connsiteY4" fmla="*/ 286703 h 692144"/>
              <a:gd name="connsiteX5" fmla="*/ 1375730 w 9144000"/>
              <a:gd name="connsiteY5" fmla="*/ 642422 h 692144"/>
              <a:gd name="connsiteX6" fmla="*/ 0 w 9144000"/>
              <a:gd name="connsiteY6" fmla="*/ 394689 h 692144"/>
              <a:gd name="connsiteX7" fmla="*/ 0 w 9144000"/>
              <a:gd name="connsiteY7" fmla="*/ 0 h 692144"/>
              <a:gd name="connsiteX0" fmla="*/ 0 w 9144000"/>
              <a:gd name="connsiteY0" fmla="*/ 0 h 804424"/>
              <a:gd name="connsiteX1" fmla="*/ 9144000 w 9144000"/>
              <a:gd name="connsiteY1" fmla="*/ 0 h 804424"/>
              <a:gd name="connsiteX2" fmla="*/ 9144000 w 9144000"/>
              <a:gd name="connsiteY2" fmla="*/ 500742 h 804424"/>
              <a:gd name="connsiteX3" fmla="*/ 6895920 w 9144000"/>
              <a:gd name="connsiteY3" fmla="*/ 801187 h 804424"/>
              <a:gd name="connsiteX4" fmla="*/ 3812648 w 9144000"/>
              <a:gd name="connsiteY4" fmla="*/ 286703 h 804424"/>
              <a:gd name="connsiteX5" fmla="*/ 1375730 w 9144000"/>
              <a:gd name="connsiteY5" fmla="*/ 642422 h 804424"/>
              <a:gd name="connsiteX6" fmla="*/ 0 w 9144000"/>
              <a:gd name="connsiteY6" fmla="*/ 394689 h 804424"/>
              <a:gd name="connsiteX7" fmla="*/ 0 w 9144000"/>
              <a:gd name="connsiteY7" fmla="*/ 0 h 804424"/>
              <a:gd name="connsiteX0" fmla="*/ 0 w 9144000"/>
              <a:gd name="connsiteY0" fmla="*/ 0 h 802352"/>
              <a:gd name="connsiteX1" fmla="*/ 9144000 w 9144000"/>
              <a:gd name="connsiteY1" fmla="*/ 0 h 802352"/>
              <a:gd name="connsiteX2" fmla="*/ 9144000 w 9144000"/>
              <a:gd name="connsiteY2" fmla="*/ 500742 h 802352"/>
              <a:gd name="connsiteX3" fmla="*/ 6895920 w 9144000"/>
              <a:gd name="connsiteY3" fmla="*/ 801187 h 802352"/>
              <a:gd name="connsiteX4" fmla="*/ 3812648 w 9144000"/>
              <a:gd name="connsiteY4" fmla="*/ 286703 h 802352"/>
              <a:gd name="connsiteX5" fmla="*/ 1375730 w 9144000"/>
              <a:gd name="connsiteY5" fmla="*/ 642422 h 802352"/>
              <a:gd name="connsiteX6" fmla="*/ 0 w 9144000"/>
              <a:gd name="connsiteY6" fmla="*/ 394689 h 802352"/>
              <a:gd name="connsiteX7" fmla="*/ 0 w 9144000"/>
              <a:gd name="connsiteY7" fmla="*/ 0 h 80235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75730 w 9144000"/>
              <a:gd name="connsiteY5" fmla="*/ 642422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86840 w 9144000"/>
              <a:gd name="connsiteY5" fmla="*/ 553974 h 805292"/>
              <a:gd name="connsiteX6" fmla="*/ 1375730 w 9144000"/>
              <a:gd name="connsiteY6" fmla="*/ 642422 h 805292"/>
              <a:gd name="connsiteX7" fmla="*/ 0 w 9144000"/>
              <a:gd name="connsiteY7" fmla="*/ 394689 h 805292"/>
              <a:gd name="connsiteX8" fmla="*/ 0 w 9144000"/>
              <a:gd name="connsiteY8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86840 w 9144000"/>
              <a:gd name="connsiteY5" fmla="*/ 55397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432560 w 9144000"/>
              <a:gd name="connsiteY5" fmla="*/ 57683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432560 w 9144000"/>
              <a:gd name="connsiteY5" fmla="*/ 57683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992"/>
              <a:gd name="connsiteX1" fmla="*/ 9144000 w 9144000"/>
              <a:gd name="connsiteY1" fmla="*/ 0 h 805992"/>
              <a:gd name="connsiteX2" fmla="*/ 9144000 w 9144000"/>
              <a:gd name="connsiteY2" fmla="*/ 500742 h 805992"/>
              <a:gd name="connsiteX3" fmla="*/ 6895920 w 9144000"/>
              <a:gd name="connsiteY3" fmla="*/ 801187 h 805992"/>
              <a:gd name="connsiteX4" fmla="*/ 3865988 w 9144000"/>
              <a:gd name="connsiteY4" fmla="*/ 233363 h 805992"/>
              <a:gd name="connsiteX5" fmla="*/ 1432560 w 9144000"/>
              <a:gd name="connsiteY5" fmla="*/ 576834 h 805992"/>
              <a:gd name="connsiteX6" fmla="*/ 0 w 9144000"/>
              <a:gd name="connsiteY6" fmla="*/ 394689 h 805992"/>
              <a:gd name="connsiteX7" fmla="*/ 0 w 9144000"/>
              <a:gd name="connsiteY7" fmla="*/ 0 h 805992"/>
              <a:gd name="connsiteX0" fmla="*/ 0 w 9144000"/>
              <a:gd name="connsiteY0" fmla="*/ 0 h 805992"/>
              <a:gd name="connsiteX1" fmla="*/ 9144000 w 9144000"/>
              <a:gd name="connsiteY1" fmla="*/ 0 h 805992"/>
              <a:gd name="connsiteX2" fmla="*/ 9144000 w 9144000"/>
              <a:gd name="connsiteY2" fmla="*/ 500742 h 805992"/>
              <a:gd name="connsiteX3" fmla="*/ 6895920 w 9144000"/>
              <a:gd name="connsiteY3" fmla="*/ 801187 h 805992"/>
              <a:gd name="connsiteX4" fmla="*/ 3865988 w 9144000"/>
              <a:gd name="connsiteY4" fmla="*/ 233363 h 805992"/>
              <a:gd name="connsiteX5" fmla="*/ 1432560 w 9144000"/>
              <a:gd name="connsiteY5" fmla="*/ 576834 h 805992"/>
              <a:gd name="connsiteX6" fmla="*/ 0 w 9144000"/>
              <a:gd name="connsiteY6" fmla="*/ 394689 h 805992"/>
              <a:gd name="connsiteX7" fmla="*/ 0 w 9144000"/>
              <a:gd name="connsiteY7" fmla="*/ 0 h 805992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390650 w 9144000"/>
              <a:gd name="connsiteY5" fmla="*/ 627634 h 810959"/>
              <a:gd name="connsiteX6" fmla="*/ 1432560 w 9144000"/>
              <a:gd name="connsiteY6" fmla="*/ 57683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390650 w 9144000"/>
              <a:gd name="connsiteY5" fmla="*/ 62763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25600 w 9144000"/>
              <a:gd name="connsiteY5" fmla="*/ 6212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48046 w 9192046"/>
              <a:gd name="connsiteY0" fmla="*/ 0 h 810959"/>
              <a:gd name="connsiteX1" fmla="*/ 9192046 w 9192046"/>
              <a:gd name="connsiteY1" fmla="*/ 0 h 810959"/>
              <a:gd name="connsiteX2" fmla="*/ 9192046 w 9192046"/>
              <a:gd name="connsiteY2" fmla="*/ 500742 h 810959"/>
              <a:gd name="connsiteX3" fmla="*/ 6943966 w 9192046"/>
              <a:gd name="connsiteY3" fmla="*/ 801187 h 810959"/>
              <a:gd name="connsiteX4" fmla="*/ 3914034 w 9192046"/>
              <a:gd name="connsiteY4" fmla="*/ 233363 h 810959"/>
              <a:gd name="connsiteX5" fmla="*/ 1673646 w 9192046"/>
              <a:gd name="connsiteY5" fmla="*/ 621284 h 810959"/>
              <a:gd name="connsiteX6" fmla="*/ 915456 w 9192046"/>
              <a:gd name="connsiteY6" fmla="*/ 633984 h 810959"/>
              <a:gd name="connsiteX7" fmla="*/ 54396 w 9192046"/>
              <a:gd name="connsiteY7" fmla="*/ 456184 h 810959"/>
              <a:gd name="connsiteX8" fmla="*/ 79796 w 9192046"/>
              <a:gd name="connsiteY8" fmla="*/ 458189 h 810959"/>
              <a:gd name="connsiteX9" fmla="*/ 48046 w 9192046"/>
              <a:gd name="connsiteY9" fmla="*/ 0 h 810959"/>
              <a:gd name="connsiteX0" fmla="*/ 59284 w 9203284"/>
              <a:gd name="connsiteY0" fmla="*/ 0 h 810959"/>
              <a:gd name="connsiteX1" fmla="*/ 9203284 w 9203284"/>
              <a:gd name="connsiteY1" fmla="*/ 0 h 810959"/>
              <a:gd name="connsiteX2" fmla="*/ 9203284 w 9203284"/>
              <a:gd name="connsiteY2" fmla="*/ 500742 h 810959"/>
              <a:gd name="connsiteX3" fmla="*/ 6955204 w 9203284"/>
              <a:gd name="connsiteY3" fmla="*/ 801187 h 810959"/>
              <a:gd name="connsiteX4" fmla="*/ 3925272 w 9203284"/>
              <a:gd name="connsiteY4" fmla="*/ 233363 h 810959"/>
              <a:gd name="connsiteX5" fmla="*/ 1684884 w 9203284"/>
              <a:gd name="connsiteY5" fmla="*/ 621284 h 810959"/>
              <a:gd name="connsiteX6" fmla="*/ 926694 w 9203284"/>
              <a:gd name="connsiteY6" fmla="*/ 633984 h 810959"/>
              <a:gd name="connsiteX7" fmla="*/ 65634 w 9203284"/>
              <a:gd name="connsiteY7" fmla="*/ 456184 h 810959"/>
              <a:gd name="connsiteX8" fmla="*/ 59284 w 9203284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25600 w 9144000"/>
              <a:gd name="connsiteY5" fmla="*/ 621284 h 810959"/>
              <a:gd name="connsiteX6" fmla="*/ 867410 w 9144000"/>
              <a:gd name="connsiteY6" fmla="*/ 633984 h 810959"/>
              <a:gd name="connsiteX7" fmla="*/ 6350 w 9144000"/>
              <a:gd name="connsiteY7" fmla="*/ 456184 h 810959"/>
              <a:gd name="connsiteX8" fmla="*/ 0 w 9144000"/>
              <a:gd name="connsiteY8" fmla="*/ 0 h 810959"/>
              <a:gd name="connsiteX0" fmla="*/ 19050 w 9163050"/>
              <a:gd name="connsiteY0" fmla="*/ 0 h 810959"/>
              <a:gd name="connsiteX1" fmla="*/ 9163050 w 9163050"/>
              <a:gd name="connsiteY1" fmla="*/ 0 h 810959"/>
              <a:gd name="connsiteX2" fmla="*/ 9163050 w 9163050"/>
              <a:gd name="connsiteY2" fmla="*/ 500742 h 810959"/>
              <a:gd name="connsiteX3" fmla="*/ 6914970 w 9163050"/>
              <a:gd name="connsiteY3" fmla="*/ 801187 h 810959"/>
              <a:gd name="connsiteX4" fmla="*/ 3885038 w 9163050"/>
              <a:gd name="connsiteY4" fmla="*/ 233363 h 810959"/>
              <a:gd name="connsiteX5" fmla="*/ 1644650 w 9163050"/>
              <a:gd name="connsiteY5" fmla="*/ 621284 h 810959"/>
              <a:gd name="connsiteX6" fmla="*/ 886460 w 9163050"/>
              <a:gd name="connsiteY6" fmla="*/ 633984 h 810959"/>
              <a:gd name="connsiteX7" fmla="*/ 0 w 9163050"/>
              <a:gd name="connsiteY7" fmla="*/ 449834 h 810959"/>
              <a:gd name="connsiteX8" fmla="*/ 19050 w 91630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31950 w 9150350"/>
              <a:gd name="connsiteY5" fmla="*/ 621284 h 810959"/>
              <a:gd name="connsiteX6" fmla="*/ 873760 w 9150350"/>
              <a:gd name="connsiteY6" fmla="*/ 6339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31950 w 9150350"/>
              <a:gd name="connsiteY5" fmla="*/ 6212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19250 w 9150350"/>
              <a:gd name="connsiteY5" fmla="*/ 5831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19250 w 9150350"/>
              <a:gd name="connsiteY5" fmla="*/ 5831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19250 w 9150350"/>
              <a:gd name="connsiteY5" fmla="*/ 583184 h 802448"/>
              <a:gd name="connsiteX6" fmla="*/ 867410 w 9150350"/>
              <a:gd name="connsiteY6" fmla="*/ 583184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50246 w 9150350"/>
              <a:gd name="connsiteY5" fmla="*/ 699421 h 802448"/>
              <a:gd name="connsiteX6" fmla="*/ 867410 w 9150350"/>
              <a:gd name="connsiteY6" fmla="*/ 583184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50246 w 9150350"/>
              <a:gd name="connsiteY5" fmla="*/ 699421 h 802448"/>
              <a:gd name="connsiteX6" fmla="*/ 859660 w 9150350"/>
              <a:gd name="connsiteY6" fmla="*/ 699422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16313"/>
              <a:gd name="connsiteX1" fmla="*/ 9144000 w 9144000"/>
              <a:gd name="connsiteY1" fmla="*/ 0 h 816313"/>
              <a:gd name="connsiteX2" fmla="*/ 9144000 w 9144000"/>
              <a:gd name="connsiteY2" fmla="*/ 500742 h 816313"/>
              <a:gd name="connsiteX3" fmla="*/ 6895920 w 9144000"/>
              <a:gd name="connsiteY3" fmla="*/ 801187 h 816313"/>
              <a:gd name="connsiteX4" fmla="*/ 3935730 w 9144000"/>
              <a:gd name="connsiteY4" fmla="*/ 372848 h 816313"/>
              <a:gd name="connsiteX5" fmla="*/ 1643896 w 9144000"/>
              <a:gd name="connsiteY5" fmla="*/ 699421 h 816313"/>
              <a:gd name="connsiteX6" fmla="*/ 853310 w 9144000"/>
              <a:gd name="connsiteY6" fmla="*/ 699422 h 816313"/>
              <a:gd name="connsiteX7" fmla="*/ 1399 w 9144000"/>
              <a:gd name="connsiteY7" fmla="*/ 508921 h 816313"/>
              <a:gd name="connsiteX8" fmla="*/ 0 w 9144000"/>
              <a:gd name="connsiteY8" fmla="*/ 0 h 816313"/>
              <a:gd name="connsiteX0" fmla="*/ 0 w 9144000"/>
              <a:gd name="connsiteY0" fmla="*/ 0 h 821830"/>
              <a:gd name="connsiteX1" fmla="*/ 9144000 w 9144000"/>
              <a:gd name="connsiteY1" fmla="*/ 0 h 821830"/>
              <a:gd name="connsiteX2" fmla="*/ 9144000 w 9144000"/>
              <a:gd name="connsiteY2" fmla="*/ 500742 h 821830"/>
              <a:gd name="connsiteX3" fmla="*/ 6895920 w 9144000"/>
              <a:gd name="connsiteY3" fmla="*/ 801187 h 821830"/>
              <a:gd name="connsiteX4" fmla="*/ 3935730 w 9144000"/>
              <a:gd name="connsiteY4" fmla="*/ 372848 h 821830"/>
              <a:gd name="connsiteX5" fmla="*/ 1643896 w 9144000"/>
              <a:gd name="connsiteY5" fmla="*/ 699421 h 821830"/>
              <a:gd name="connsiteX6" fmla="*/ 853310 w 9144000"/>
              <a:gd name="connsiteY6" fmla="*/ 699422 h 821830"/>
              <a:gd name="connsiteX7" fmla="*/ 1399 w 9144000"/>
              <a:gd name="connsiteY7" fmla="*/ 508921 h 821830"/>
              <a:gd name="connsiteX8" fmla="*/ 0 w 9144000"/>
              <a:gd name="connsiteY8" fmla="*/ 0 h 821830"/>
              <a:gd name="connsiteX0" fmla="*/ 5745 w 9149745"/>
              <a:gd name="connsiteY0" fmla="*/ 0 h 821830"/>
              <a:gd name="connsiteX1" fmla="*/ 9149745 w 9149745"/>
              <a:gd name="connsiteY1" fmla="*/ 0 h 821830"/>
              <a:gd name="connsiteX2" fmla="*/ 9149745 w 9149745"/>
              <a:gd name="connsiteY2" fmla="*/ 500742 h 821830"/>
              <a:gd name="connsiteX3" fmla="*/ 6901665 w 9149745"/>
              <a:gd name="connsiteY3" fmla="*/ 801187 h 821830"/>
              <a:gd name="connsiteX4" fmla="*/ 3941475 w 9149745"/>
              <a:gd name="connsiteY4" fmla="*/ 372848 h 821830"/>
              <a:gd name="connsiteX5" fmla="*/ 1649641 w 9149745"/>
              <a:gd name="connsiteY5" fmla="*/ 699421 h 821830"/>
              <a:gd name="connsiteX6" fmla="*/ 859055 w 9149745"/>
              <a:gd name="connsiteY6" fmla="*/ 699422 h 821830"/>
              <a:gd name="connsiteX7" fmla="*/ 0 w 9149745"/>
              <a:gd name="connsiteY7" fmla="*/ 516065 h 821830"/>
              <a:gd name="connsiteX8" fmla="*/ 5745 w 9149745"/>
              <a:gd name="connsiteY8" fmla="*/ 0 h 821830"/>
              <a:gd name="connsiteX0" fmla="*/ 5745 w 9149745"/>
              <a:gd name="connsiteY0" fmla="*/ 0 h 821830"/>
              <a:gd name="connsiteX1" fmla="*/ 9149745 w 9149745"/>
              <a:gd name="connsiteY1" fmla="*/ 0 h 821830"/>
              <a:gd name="connsiteX2" fmla="*/ 9149745 w 9149745"/>
              <a:gd name="connsiteY2" fmla="*/ 500742 h 821830"/>
              <a:gd name="connsiteX3" fmla="*/ 6901665 w 9149745"/>
              <a:gd name="connsiteY3" fmla="*/ 801187 h 821830"/>
              <a:gd name="connsiteX4" fmla="*/ 3941475 w 9149745"/>
              <a:gd name="connsiteY4" fmla="*/ 372848 h 821830"/>
              <a:gd name="connsiteX5" fmla="*/ 1649641 w 9149745"/>
              <a:gd name="connsiteY5" fmla="*/ 699421 h 821830"/>
              <a:gd name="connsiteX6" fmla="*/ 859055 w 9149745"/>
              <a:gd name="connsiteY6" fmla="*/ 699422 h 821830"/>
              <a:gd name="connsiteX7" fmla="*/ 0 w 9149745"/>
              <a:gd name="connsiteY7" fmla="*/ 516065 h 821830"/>
              <a:gd name="connsiteX8" fmla="*/ 5745 w 9149745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16065 h 821830"/>
              <a:gd name="connsiteX8" fmla="*/ 3364 w 9147364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27971 h 821830"/>
              <a:gd name="connsiteX8" fmla="*/ 3364 w 9147364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27971 h 821830"/>
              <a:gd name="connsiteX8" fmla="*/ 3364 w 9147364"/>
              <a:gd name="connsiteY8" fmla="*/ 0 h 821830"/>
              <a:gd name="connsiteX0" fmla="*/ 0 w 9144000"/>
              <a:gd name="connsiteY0" fmla="*/ 0 h 821830"/>
              <a:gd name="connsiteX1" fmla="*/ 9144000 w 9144000"/>
              <a:gd name="connsiteY1" fmla="*/ 0 h 821830"/>
              <a:gd name="connsiteX2" fmla="*/ 9144000 w 9144000"/>
              <a:gd name="connsiteY2" fmla="*/ 500742 h 821830"/>
              <a:gd name="connsiteX3" fmla="*/ 6895920 w 9144000"/>
              <a:gd name="connsiteY3" fmla="*/ 801187 h 821830"/>
              <a:gd name="connsiteX4" fmla="*/ 3935730 w 9144000"/>
              <a:gd name="connsiteY4" fmla="*/ 372848 h 821830"/>
              <a:gd name="connsiteX5" fmla="*/ 1643896 w 9144000"/>
              <a:gd name="connsiteY5" fmla="*/ 699421 h 821830"/>
              <a:gd name="connsiteX6" fmla="*/ 853310 w 9144000"/>
              <a:gd name="connsiteY6" fmla="*/ 699422 h 821830"/>
              <a:gd name="connsiteX7" fmla="*/ 44262 w 9144000"/>
              <a:gd name="connsiteY7" fmla="*/ 508921 h 821830"/>
              <a:gd name="connsiteX8" fmla="*/ 0 w 9144000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982" h="821830">
                <a:close/>
                <a:moveTo>
                  <a:pt x="982" y="0"/>
                </a:moveTo>
                <a:lnTo>
                  <a:pt x="9144982" y="0"/>
                </a:lnTo>
                <a:lnTo>
                  <a:pt x="9144982" y="500742"/>
                </a:lnTo>
                <a:cubicBezTo>
                  <a:pt x="8989299" y="567439"/>
                  <a:pt x="8212622" y="908228"/>
                  <a:pt x="6896902" y="801187"/>
                </a:cubicBezTo>
                <a:cubicBezTo>
                  <a:pt x="5581182" y="694146"/>
                  <a:pt x="4812049" y="389809"/>
                  <a:pt x="3936712" y="372848"/>
                </a:cubicBezTo>
                <a:cubicBezTo>
                  <a:pt x="3061375" y="355887"/>
                  <a:pt x="2650524" y="615188"/>
                  <a:pt x="1644878" y="699421"/>
                </a:cubicBezTo>
                <a:cubicBezTo>
                  <a:pt x="1300425" y="734441"/>
                  <a:pt x="1145069" y="712052"/>
                  <a:pt x="854292" y="699422"/>
                </a:cubicBezTo>
                <a:cubicBezTo>
                  <a:pt x="591825" y="672964"/>
                  <a:pt x="142187" y="600298"/>
                  <a:pt x="0" y="532734"/>
                </a:cubicBezTo>
                <a:cubicBezTo>
                  <a:pt x="688" y="518351"/>
                  <a:pt x="2305" y="95038"/>
                  <a:pt x="982" y="0"/>
                </a:cubicBezTo>
              </a:path>
            </a:pathLst>
          </a:custGeom>
          <a:gradFill flip="none" rotWithShape="1">
            <a:gsLst>
              <a:gs pos="0">
                <a:srgbClr val="DBDBDB"/>
              </a:gs>
              <a:gs pos="78000">
                <a:srgbClr val="FFFFFF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7" name="Bild 8" descr="Logo-mit-Claim_Innenseit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242810" y="221897"/>
            <a:ext cx="121285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Freeform 12"/>
          <p:cNvSpPr>
            <a:spLocks/>
          </p:cNvSpPr>
          <p:nvPr userDrawn="1"/>
        </p:nvSpPr>
        <p:spPr bwMode="gray">
          <a:xfrm>
            <a:off x="-6350" y="255769"/>
            <a:ext cx="9154800" cy="712875"/>
          </a:xfrm>
          <a:custGeom>
            <a:avLst/>
            <a:gdLst>
              <a:gd name="T0" fmla="*/ 2880 w 2880"/>
              <a:gd name="T1" fmla="*/ 67 h 224"/>
              <a:gd name="T2" fmla="*/ 1955 w 2880"/>
              <a:gd name="T3" fmla="*/ 130 h 224"/>
              <a:gd name="T4" fmla="*/ 1212 w 2880"/>
              <a:gd name="T5" fmla="*/ 24 h 224"/>
              <a:gd name="T6" fmla="*/ 433 w 2880"/>
              <a:gd name="T7" fmla="*/ 137 h 224"/>
              <a:gd name="T8" fmla="*/ 0 w 2880"/>
              <a:gd name="T9" fmla="*/ 67 h 224"/>
              <a:gd name="T10" fmla="*/ 1 w 2880"/>
              <a:gd name="T11" fmla="*/ 96 h 224"/>
              <a:gd name="T12" fmla="*/ 753 w 2880"/>
              <a:gd name="T13" fmla="*/ 108 h 224"/>
              <a:gd name="T14" fmla="*/ 1561 w 2880"/>
              <a:gd name="T15" fmla="*/ 80 h 224"/>
              <a:gd name="T16" fmla="*/ 2022 w 2880"/>
              <a:gd name="T17" fmla="*/ 160 h 224"/>
              <a:gd name="T18" fmla="*/ 2880 w 2880"/>
              <a:gd name="T19" fmla="*/ 114 h 224"/>
              <a:gd name="T20" fmla="*/ 2880 w 2880"/>
              <a:gd name="T21" fmla="*/ 67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880" h="224">
                <a:moveTo>
                  <a:pt x="2880" y="67"/>
                </a:moveTo>
                <a:cubicBezTo>
                  <a:pt x="2737" y="127"/>
                  <a:pt x="2450" y="206"/>
                  <a:pt x="1955" y="130"/>
                </a:cubicBezTo>
                <a:cubicBezTo>
                  <a:pt x="1571" y="69"/>
                  <a:pt x="1424" y="24"/>
                  <a:pt x="1212" y="24"/>
                </a:cubicBezTo>
                <a:cubicBezTo>
                  <a:pt x="932" y="24"/>
                  <a:pt x="775" y="136"/>
                  <a:pt x="433" y="137"/>
                </a:cubicBezTo>
                <a:cubicBezTo>
                  <a:pt x="184" y="140"/>
                  <a:pt x="0" y="67"/>
                  <a:pt x="0" y="67"/>
                </a:cubicBezTo>
                <a:cubicBezTo>
                  <a:pt x="1" y="96"/>
                  <a:pt x="1" y="96"/>
                  <a:pt x="1" y="96"/>
                </a:cubicBezTo>
                <a:cubicBezTo>
                  <a:pt x="1" y="96"/>
                  <a:pt x="346" y="205"/>
                  <a:pt x="753" y="108"/>
                </a:cubicBezTo>
                <a:cubicBezTo>
                  <a:pt x="1208" y="0"/>
                  <a:pt x="1340" y="47"/>
                  <a:pt x="1561" y="80"/>
                </a:cubicBezTo>
                <a:cubicBezTo>
                  <a:pt x="1627" y="90"/>
                  <a:pt x="1869" y="140"/>
                  <a:pt x="2022" y="160"/>
                </a:cubicBezTo>
                <a:cubicBezTo>
                  <a:pt x="2514" y="224"/>
                  <a:pt x="2716" y="161"/>
                  <a:pt x="2880" y="114"/>
                </a:cubicBezTo>
                <a:cubicBezTo>
                  <a:pt x="2880" y="67"/>
                  <a:pt x="2880" y="67"/>
                  <a:pt x="2880" y="67"/>
                </a:cubicBezTo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charset="0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395287" y="6627168"/>
            <a:ext cx="317586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US" sz="900" dirty="0">
                <a:solidFill>
                  <a:srgbClr val="004179"/>
                </a:solidFill>
              </a:rPr>
              <a:t>© 2015 GELITA AG. Any copies need to be authorized by GELITA</a:t>
            </a:r>
          </a:p>
        </p:txBody>
      </p:sp>
    </p:spTree>
    <p:extLst>
      <p:ext uri="{BB962C8B-B14F-4D97-AF65-F5344CB8AC3E}">
        <p14:creationId xmlns:p14="http://schemas.microsoft.com/office/powerpoint/2010/main" val="3849925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11" descr="Gelatine-Motiv-(Polaroid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06363"/>
            <a:ext cx="9144000" cy="6751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bgerundetes Rechteck 8"/>
          <p:cNvSpPr/>
          <p:nvPr userDrawn="1"/>
        </p:nvSpPr>
        <p:spPr bwMode="gray">
          <a:xfrm>
            <a:off x="395287" y="1769533"/>
            <a:ext cx="8353425" cy="4747202"/>
          </a:xfrm>
          <a:prstGeom prst="roundRect">
            <a:avLst>
              <a:gd name="adj" fmla="val 5468"/>
            </a:avLst>
          </a:prstGeom>
          <a:gradFill flip="none" rotWithShape="1">
            <a:gsLst>
              <a:gs pos="0">
                <a:schemeClr val="bg1">
                  <a:alpha val="25000"/>
                </a:schemeClr>
              </a:gs>
              <a:gs pos="20000">
                <a:srgbClr val="FFFFFF">
                  <a:alpha val="78000"/>
                </a:srgbClr>
              </a:gs>
              <a:gs pos="74000">
                <a:schemeClr val="bg1">
                  <a:alpha val="43000"/>
                </a:schemeClr>
              </a:gs>
              <a:gs pos="100000">
                <a:schemeClr val="bg1">
                  <a:alpha val="2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rgbClr val="29292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C7BD98F-CB44-460A-AB0F-B78530F77C65}" type="slidenum">
              <a:rPr lang="en-US">
                <a:solidFill>
                  <a:srgbClr val="004179"/>
                </a:solidFill>
              </a:rPr>
              <a:pPr/>
              <a:t>‹#›</a:t>
            </a:fld>
            <a:endParaRPr lang="en-US">
              <a:solidFill>
                <a:srgbClr val="004179"/>
              </a:solidFill>
            </a:endParaRPr>
          </a:p>
        </p:txBody>
      </p:sp>
      <p:sp>
        <p:nvSpPr>
          <p:cNvPr id="6" name="Rechteck 21"/>
          <p:cNvSpPr/>
          <p:nvPr userDrawn="1"/>
        </p:nvSpPr>
        <p:spPr bwMode="gray">
          <a:xfrm>
            <a:off x="0" y="0"/>
            <a:ext cx="9144982" cy="821830"/>
          </a:xfrm>
          <a:custGeom>
            <a:avLst/>
            <a:gdLst>
              <a:gd name="connsiteX0" fmla="*/ 0 w 9144000"/>
              <a:gd name="connsiteY0" fmla="*/ 394689 h 1011420"/>
              <a:gd name="connsiteX1" fmla="*/ 2306652 w 9144000"/>
              <a:gd name="connsiteY1" fmla="*/ 629718 h 1011420"/>
              <a:gd name="connsiteX2" fmla="*/ 5178847 w 9144000"/>
              <a:gd name="connsiteY2" fmla="*/ 639246 h 1011420"/>
              <a:gd name="connsiteX3" fmla="*/ 9144000 w 9144000"/>
              <a:gd name="connsiteY3" fmla="*/ 664654 h 1011420"/>
              <a:gd name="connsiteX4" fmla="*/ 9144000 w 9144000"/>
              <a:gd name="connsiteY4" fmla="*/ 1011420 h 1011420"/>
              <a:gd name="connsiteX5" fmla="*/ 0 w 9144000"/>
              <a:gd name="connsiteY5" fmla="*/ 1011420 h 1011420"/>
              <a:gd name="connsiteX6" fmla="*/ 0 w 9144000"/>
              <a:gd name="connsiteY6" fmla="*/ 394689 h 1011420"/>
              <a:gd name="connsiteX7" fmla="*/ 0 w 9144000"/>
              <a:gd name="connsiteY7" fmla="*/ 0 h 1011420"/>
              <a:gd name="connsiteX8" fmla="*/ 9144000 w 9144000"/>
              <a:gd name="connsiteY8" fmla="*/ 0 h 1011420"/>
              <a:gd name="connsiteX9" fmla="*/ 9144000 w 9144000"/>
              <a:gd name="connsiteY9" fmla="*/ 416922 h 1011420"/>
              <a:gd name="connsiteX10" fmla="*/ 6141540 w 9144000"/>
              <a:gd name="connsiteY10" fmla="*/ 686887 h 1011420"/>
              <a:gd name="connsiteX11" fmla="*/ 3812648 w 9144000"/>
              <a:gd name="connsiteY11" fmla="*/ 286703 h 1011420"/>
              <a:gd name="connsiteX12" fmla="*/ 1375730 w 9144000"/>
              <a:gd name="connsiteY12" fmla="*/ 642422 h 1011420"/>
              <a:gd name="connsiteX13" fmla="*/ 0 w 9144000"/>
              <a:gd name="connsiteY13" fmla="*/ 394689 h 1011420"/>
              <a:gd name="connsiteX14" fmla="*/ 0 w 9144000"/>
              <a:gd name="connsiteY14" fmla="*/ 0 h 1011420"/>
              <a:gd name="connsiteX0" fmla="*/ 0 w 9144000"/>
              <a:gd name="connsiteY0" fmla="*/ 394689 h 1011420"/>
              <a:gd name="connsiteX1" fmla="*/ 2306652 w 9144000"/>
              <a:gd name="connsiteY1" fmla="*/ 629718 h 1011420"/>
              <a:gd name="connsiteX2" fmla="*/ 5178847 w 9144000"/>
              <a:gd name="connsiteY2" fmla="*/ 639246 h 1011420"/>
              <a:gd name="connsiteX3" fmla="*/ 9144000 w 9144000"/>
              <a:gd name="connsiteY3" fmla="*/ 664654 h 1011420"/>
              <a:gd name="connsiteX4" fmla="*/ 9144000 w 9144000"/>
              <a:gd name="connsiteY4" fmla="*/ 1011420 h 1011420"/>
              <a:gd name="connsiteX5" fmla="*/ 0 w 9144000"/>
              <a:gd name="connsiteY5" fmla="*/ 394689 h 1011420"/>
              <a:gd name="connsiteX6" fmla="*/ 0 w 9144000"/>
              <a:gd name="connsiteY6" fmla="*/ 0 h 1011420"/>
              <a:gd name="connsiteX7" fmla="*/ 9144000 w 9144000"/>
              <a:gd name="connsiteY7" fmla="*/ 0 h 1011420"/>
              <a:gd name="connsiteX8" fmla="*/ 9144000 w 9144000"/>
              <a:gd name="connsiteY8" fmla="*/ 416922 h 1011420"/>
              <a:gd name="connsiteX9" fmla="*/ 6141540 w 9144000"/>
              <a:gd name="connsiteY9" fmla="*/ 686887 h 1011420"/>
              <a:gd name="connsiteX10" fmla="*/ 3812648 w 9144000"/>
              <a:gd name="connsiteY10" fmla="*/ 286703 h 1011420"/>
              <a:gd name="connsiteX11" fmla="*/ 1375730 w 9144000"/>
              <a:gd name="connsiteY11" fmla="*/ 642422 h 1011420"/>
              <a:gd name="connsiteX12" fmla="*/ 0 w 9144000"/>
              <a:gd name="connsiteY12" fmla="*/ 394689 h 1011420"/>
              <a:gd name="connsiteX13" fmla="*/ 0 w 9144000"/>
              <a:gd name="connsiteY13" fmla="*/ 0 h 1011420"/>
              <a:gd name="connsiteX0" fmla="*/ 0 w 9144000"/>
              <a:gd name="connsiteY0" fmla="*/ 394689 h 950210"/>
              <a:gd name="connsiteX1" fmla="*/ 2306652 w 9144000"/>
              <a:gd name="connsiteY1" fmla="*/ 629718 h 950210"/>
              <a:gd name="connsiteX2" fmla="*/ 5178847 w 9144000"/>
              <a:gd name="connsiteY2" fmla="*/ 639246 h 950210"/>
              <a:gd name="connsiteX3" fmla="*/ 9144000 w 9144000"/>
              <a:gd name="connsiteY3" fmla="*/ 664654 h 950210"/>
              <a:gd name="connsiteX4" fmla="*/ 0 w 9144000"/>
              <a:gd name="connsiteY4" fmla="*/ 394689 h 950210"/>
              <a:gd name="connsiteX5" fmla="*/ 0 w 9144000"/>
              <a:gd name="connsiteY5" fmla="*/ 0 h 950210"/>
              <a:gd name="connsiteX6" fmla="*/ 9144000 w 9144000"/>
              <a:gd name="connsiteY6" fmla="*/ 0 h 950210"/>
              <a:gd name="connsiteX7" fmla="*/ 9144000 w 9144000"/>
              <a:gd name="connsiteY7" fmla="*/ 416922 h 950210"/>
              <a:gd name="connsiteX8" fmla="*/ 6141540 w 9144000"/>
              <a:gd name="connsiteY8" fmla="*/ 686887 h 950210"/>
              <a:gd name="connsiteX9" fmla="*/ 3812648 w 9144000"/>
              <a:gd name="connsiteY9" fmla="*/ 286703 h 950210"/>
              <a:gd name="connsiteX10" fmla="*/ 1375730 w 9144000"/>
              <a:gd name="connsiteY10" fmla="*/ 642422 h 950210"/>
              <a:gd name="connsiteX11" fmla="*/ 0 w 9144000"/>
              <a:gd name="connsiteY11" fmla="*/ 394689 h 950210"/>
              <a:gd name="connsiteX12" fmla="*/ 0 w 9144000"/>
              <a:gd name="connsiteY12" fmla="*/ 0 h 950210"/>
              <a:gd name="connsiteX0" fmla="*/ 0 w 9144000"/>
              <a:gd name="connsiteY0" fmla="*/ 394689 h 766858"/>
              <a:gd name="connsiteX1" fmla="*/ 2306652 w 9144000"/>
              <a:gd name="connsiteY1" fmla="*/ 629718 h 766858"/>
              <a:gd name="connsiteX2" fmla="*/ 5178847 w 9144000"/>
              <a:gd name="connsiteY2" fmla="*/ 639246 h 766858"/>
              <a:gd name="connsiteX3" fmla="*/ 0 w 9144000"/>
              <a:gd name="connsiteY3" fmla="*/ 394689 h 766858"/>
              <a:gd name="connsiteX4" fmla="*/ 0 w 9144000"/>
              <a:gd name="connsiteY4" fmla="*/ 0 h 766858"/>
              <a:gd name="connsiteX5" fmla="*/ 9144000 w 9144000"/>
              <a:gd name="connsiteY5" fmla="*/ 0 h 766858"/>
              <a:gd name="connsiteX6" fmla="*/ 9144000 w 9144000"/>
              <a:gd name="connsiteY6" fmla="*/ 416922 h 766858"/>
              <a:gd name="connsiteX7" fmla="*/ 6141540 w 9144000"/>
              <a:gd name="connsiteY7" fmla="*/ 686887 h 766858"/>
              <a:gd name="connsiteX8" fmla="*/ 3812648 w 9144000"/>
              <a:gd name="connsiteY8" fmla="*/ 286703 h 766858"/>
              <a:gd name="connsiteX9" fmla="*/ 1375730 w 9144000"/>
              <a:gd name="connsiteY9" fmla="*/ 642422 h 766858"/>
              <a:gd name="connsiteX10" fmla="*/ 0 w 9144000"/>
              <a:gd name="connsiteY10" fmla="*/ 394689 h 766858"/>
              <a:gd name="connsiteX11" fmla="*/ 0 w 9144000"/>
              <a:gd name="connsiteY11" fmla="*/ 0 h 766858"/>
              <a:gd name="connsiteX0" fmla="*/ 0 w 9144000"/>
              <a:gd name="connsiteY0" fmla="*/ 0 h 766858"/>
              <a:gd name="connsiteX1" fmla="*/ 9144000 w 9144000"/>
              <a:gd name="connsiteY1" fmla="*/ 0 h 766858"/>
              <a:gd name="connsiteX2" fmla="*/ 9144000 w 9144000"/>
              <a:gd name="connsiteY2" fmla="*/ 416922 h 766858"/>
              <a:gd name="connsiteX3" fmla="*/ 6141540 w 9144000"/>
              <a:gd name="connsiteY3" fmla="*/ 686887 h 766858"/>
              <a:gd name="connsiteX4" fmla="*/ 3812648 w 9144000"/>
              <a:gd name="connsiteY4" fmla="*/ 286703 h 766858"/>
              <a:gd name="connsiteX5" fmla="*/ 1375730 w 9144000"/>
              <a:gd name="connsiteY5" fmla="*/ 642422 h 766858"/>
              <a:gd name="connsiteX6" fmla="*/ 0 w 9144000"/>
              <a:gd name="connsiteY6" fmla="*/ 394689 h 766858"/>
              <a:gd name="connsiteX7" fmla="*/ 0 w 9144000"/>
              <a:gd name="connsiteY7" fmla="*/ 0 h 766858"/>
              <a:gd name="connsiteX8" fmla="*/ 2398092 w 9144000"/>
              <a:gd name="connsiteY8" fmla="*/ 721158 h 766858"/>
              <a:gd name="connsiteX0" fmla="*/ 0 w 9144000"/>
              <a:gd name="connsiteY0" fmla="*/ 0 h 766858"/>
              <a:gd name="connsiteX1" fmla="*/ 9144000 w 9144000"/>
              <a:gd name="connsiteY1" fmla="*/ 0 h 766858"/>
              <a:gd name="connsiteX2" fmla="*/ 9144000 w 9144000"/>
              <a:gd name="connsiteY2" fmla="*/ 416922 h 766858"/>
              <a:gd name="connsiteX3" fmla="*/ 6141540 w 9144000"/>
              <a:gd name="connsiteY3" fmla="*/ 686887 h 766858"/>
              <a:gd name="connsiteX4" fmla="*/ 3812648 w 9144000"/>
              <a:gd name="connsiteY4" fmla="*/ 286703 h 766858"/>
              <a:gd name="connsiteX5" fmla="*/ 1375730 w 9144000"/>
              <a:gd name="connsiteY5" fmla="*/ 642422 h 766858"/>
              <a:gd name="connsiteX6" fmla="*/ 0 w 9144000"/>
              <a:gd name="connsiteY6" fmla="*/ 394689 h 766858"/>
              <a:gd name="connsiteX7" fmla="*/ 0 w 9144000"/>
              <a:gd name="connsiteY7" fmla="*/ 0 h 766858"/>
              <a:gd name="connsiteX0" fmla="*/ 0 w 9144000"/>
              <a:gd name="connsiteY0" fmla="*/ 0 h 692144"/>
              <a:gd name="connsiteX1" fmla="*/ 9144000 w 9144000"/>
              <a:gd name="connsiteY1" fmla="*/ 0 h 692144"/>
              <a:gd name="connsiteX2" fmla="*/ 9144000 w 9144000"/>
              <a:gd name="connsiteY2" fmla="*/ 500742 h 692144"/>
              <a:gd name="connsiteX3" fmla="*/ 6141540 w 9144000"/>
              <a:gd name="connsiteY3" fmla="*/ 686887 h 692144"/>
              <a:gd name="connsiteX4" fmla="*/ 3812648 w 9144000"/>
              <a:gd name="connsiteY4" fmla="*/ 286703 h 692144"/>
              <a:gd name="connsiteX5" fmla="*/ 1375730 w 9144000"/>
              <a:gd name="connsiteY5" fmla="*/ 642422 h 692144"/>
              <a:gd name="connsiteX6" fmla="*/ 0 w 9144000"/>
              <a:gd name="connsiteY6" fmla="*/ 394689 h 692144"/>
              <a:gd name="connsiteX7" fmla="*/ 0 w 9144000"/>
              <a:gd name="connsiteY7" fmla="*/ 0 h 692144"/>
              <a:gd name="connsiteX0" fmla="*/ 0 w 9144000"/>
              <a:gd name="connsiteY0" fmla="*/ 0 h 804424"/>
              <a:gd name="connsiteX1" fmla="*/ 9144000 w 9144000"/>
              <a:gd name="connsiteY1" fmla="*/ 0 h 804424"/>
              <a:gd name="connsiteX2" fmla="*/ 9144000 w 9144000"/>
              <a:gd name="connsiteY2" fmla="*/ 500742 h 804424"/>
              <a:gd name="connsiteX3" fmla="*/ 6895920 w 9144000"/>
              <a:gd name="connsiteY3" fmla="*/ 801187 h 804424"/>
              <a:gd name="connsiteX4" fmla="*/ 3812648 w 9144000"/>
              <a:gd name="connsiteY4" fmla="*/ 286703 h 804424"/>
              <a:gd name="connsiteX5" fmla="*/ 1375730 w 9144000"/>
              <a:gd name="connsiteY5" fmla="*/ 642422 h 804424"/>
              <a:gd name="connsiteX6" fmla="*/ 0 w 9144000"/>
              <a:gd name="connsiteY6" fmla="*/ 394689 h 804424"/>
              <a:gd name="connsiteX7" fmla="*/ 0 w 9144000"/>
              <a:gd name="connsiteY7" fmla="*/ 0 h 804424"/>
              <a:gd name="connsiteX0" fmla="*/ 0 w 9144000"/>
              <a:gd name="connsiteY0" fmla="*/ 0 h 802352"/>
              <a:gd name="connsiteX1" fmla="*/ 9144000 w 9144000"/>
              <a:gd name="connsiteY1" fmla="*/ 0 h 802352"/>
              <a:gd name="connsiteX2" fmla="*/ 9144000 w 9144000"/>
              <a:gd name="connsiteY2" fmla="*/ 500742 h 802352"/>
              <a:gd name="connsiteX3" fmla="*/ 6895920 w 9144000"/>
              <a:gd name="connsiteY3" fmla="*/ 801187 h 802352"/>
              <a:gd name="connsiteX4" fmla="*/ 3812648 w 9144000"/>
              <a:gd name="connsiteY4" fmla="*/ 286703 h 802352"/>
              <a:gd name="connsiteX5" fmla="*/ 1375730 w 9144000"/>
              <a:gd name="connsiteY5" fmla="*/ 642422 h 802352"/>
              <a:gd name="connsiteX6" fmla="*/ 0 w 9144000"/>
              <a:gd name="connsiteY6" fmla="*/ 394689 h 802352"/>
              <a:gd name="connsiteX7" fmla="*/ 0 w 9144000"/>
              <a:gd name="connsiteY7" fmla="*/ 0 h 80235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75730 w 9144000"/>
              <a:gd name="connsiteY5" fmla="*/ 642422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86840 w 9144000"/>
              <a:gd name="connsiteY5" fmla="*/ 553974 h 805292"/>
              <a:gd name="connsiteX6" fmla="*/ 1375730 w 9144000"/>
              <a:gd name="connsiteY6" fmla="*/ 642422 h 805292"/>
              <a:gd name="connsiteX7" fmla="*/ 0 w 9144000"/>
              <a:gd name="connsiteY7" fmla="*/ 394689 h 805292"/>
              <a:gd name="connsiteX8" fmla="*/ 0 w 9144000"/>
              <a:gd name="connsiteY8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86840 w 9144000"/>
              <a:gd name="connsiteY5" fmla="*/ 55397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432560 w 9144000"/>
              <a:gd name="connsiteY5" fmla="*/ 57683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432560 w 9144000"/>
              <a:gd name="connsiteY5" fmla="*/ 57683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992"/>
              <a:gd name="connsiteX1" fmla="*/ 9144000 w 9144000"/>
              <a:gd name="connsiteY1" fmla="*/ 0 h 805992"/>
              <a:gd name="connsiteX2" fmla="*/ 9144000 w 9144000"/>
              <a:gd name="connsiteY2" fmla="*/ 500742 h 805992"/>
              <a:gd name="connsiteX3" fmla="*/ 6895920 w 9144000"/>
              <a:gd name="connsiteY3" fmla="*/ 801187 h 805992"/>
              <a:gd name="connsiteX4" fmla="*/ 3865988 w 9144000"/>
              <a:gd name="connsiteY4" fmla="*/ 233363 h 805992"/>
              <a:gd name="connsiteX5" fmla="*/ 1432560 w 9144000"/>
              <a:gd name="connsiteY5" fmla="*/ 576834 h 805992"/>
              <a:gd name="connsiteX6" fmla="*/ 0 w 9144000"/>
              <a:gd name="connsiteY6" fmla="*/ 394689 h 805992"/>
              <a:gd name="connsiteX7" fmla="*/ 0 w 9144000"/>
              <a:gd name="connsiteY7" fmla="*/ 0 h 805992"/>
              <a:gd name="connsiteX0" fmla="*/ 0 w 9144000"/>
              <a:gd name="connsiteY0" fmla="*/ 0 h 805992"/>
              <a:gd name="connsiteX1" fmla="*/ 9144000 w 9144000"/>
              <a:gd name="connsiteY1" fmla="*/ 0 h 805992"/>
              <a:gd name="connsiteX2" fmla="*/ 9144000 w 9144000"/>
              <a:gd name="connsiteY2" fmla="*/ 500742 h 805992"/>
              <a:gd name="connsiteX3" fmla="*/ 6895920 w 9144000"/>
              <a:gd name="connsiteY3" fmla="*/ 801187 h 805992"/>
              <a:gd name="connsiteX4" fmla="*/ 3865988 w 9144000"/>
              <a:gd name="connsiteY4" fmla="*/ 233363 h 805992"/>
              <a:gd name="connsiteX5" fmla="*/ 1432560 w 9144000"/>
              <a:gd name="connsiteY5" fmla="*/ 576834 h 805992"/>
              <a:gd name="connsiteX6" fmla="*/ 0 w 9144000"/>
              <a:gd name="connsiteY6" fmla="*/ 394689 h 805992"/>
              <a:gd name="connsiteX7" fmla="*/ 0 w 9144000"/>
              <a:gd name="connsiteY7" fmla="*/ 0 h 805992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390650 w 9144000"/>
              <a:gd name="connsiteY5" fmla="*/ 627634 h 810959"/>
              <a:gd name="connsiteX6" fmla="*/ 1432560 w 9144000"/>
              <a:gd name="connsiteY6" fmla="*/ 57683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390650 w 9144000"/>
              <a:gd name="connsiteY5" fmla="*/ 62763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25600 w 9144000"/>
              <a:gd name="connsiteY5" fmla="*/ 6212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48046 w 9192046"/>
              <a:gd name="connsiteY0" fmla="*/ 0 h 810959"/>
              <a:gd name="connsiteX1" fmla="*/ 9192046 w 9192046"/>
              <a:gd name="connsiteY1" fmla="*/ 0 h 810959"/>
              <a:gd name="connsiteX2" fmla="*/ 9192046 w 9192046"/>
              <a:gd name="connsiteY2" fmla="*/ 500742 h 810959"/>
              <a:gd name="connsiteX3" fmla="*/ 6943966 w 9192046"/>
              <a:gd name="connsiteY3" fmla="*/ 801187 h 810959"/>
              <a:gd name="connsiteX4" fmla="*/ 3914034 w 9192046"/>
              <a:gd name="connsiteY4" fmla="*/ 233363 h 810959"/>
              <a:gd name="connsiteX5" fmla="*/ 1673646 w 9192046"/>
              <a:gd name="connsiteY5" fmla="*/ 621284 h 810959"/>
              <a:gd name="connsiteX6" fmla="*/ 915456 w 9192046"/>
              <a:gd name="connsiteY6" fmla="*/ 633984 h 810959"/>
              <a:gd name="connsiteX7" fmla="*/ 54396 w 9192046"/>
              <a:gd name="connsiteY7" fmla="*/ 456184 h 810959"/>
              <a:gd name="connsiteX8" fmla="*/ 79796 w 9192046"/>
              <a:gd name="connsiteY8" fmla="*/ 458189 h 810959"/>
              <a:gd name="connsiteX9" fmla="*/ 48046 w 9192046"/>
              <a:gd name="connsiteY9" fmla="*/ 0 h 810959"/>
              <a:gd name="connsiteX0" fmla="*/ 59284 w 9203284"/>
              <a:gd name="connsiteY0" fmla="*/ 0 h 810959"/>
              <a:gd name="connsiteX1" fmla="*/ 9203284 w 9203284"/>
              <a:gd name="connsiteY1" fmla="*/ 0 h 810959"/>
              <a:gd name="connsiteX2" fmla="*/ 9203284 w 9203284"/>
              <a:gd name="connsiteY2" fmla="*/ 500742 h 810959"/>
              <a:gd name="connsiteX3" fmla="*/ 6955204 w 9203284"/>
              <a:gd name="connsiteY3" fmla="*/ 801187 h 810959"/>
              <a:gd name="connsiteX4" fmla="*/ 3925272 w 9203284"/>
              <a:gd name="connsiteY4" fmla="*/ 233363 h 810959"/>
              <a:gd name="connsiteX5" fmla="*/ 1684884 w 9203284"/>
              <a:gd name="connsiteY5" fmla="*/ 621284 h 810959"/>
              <a:gd name="connsiteX6" fmla="*/ 926694 w 9203284"/>
              <a:gd name="connsiteY6" fmla="*/ 633984 h 810959"/>
              <a:gd name="connsiteX7" fmla="*/ 65634 w 9203284"/>
              <a:gd name="connsiteY7" fmla="*/ 456184 h 810959"/>
              <a:gd name="connsiteX8" fmla="*/ 59284 w 9203284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25600 w 9144000"/>
              <a:gd name="connsiteY5" fmla="*/ 621284 h 810959"/>
              <a:gd name="connsiteX6" fmla="*/ 867410 w 9144000"/>
              <a:gd name="connsiteY6" fmla="*/ 633984 h 810959"/>
              <a:gd name="connsiteX7" fmla="*/ 6350 w 9144000"/>
              <a:gd name="connsiteY7" fmla="*/ 456184 h 810959"/>
              <a:gd name="connsiteX8" fmla="*/ 0 w 9144000"/>
              <a:gd name="connsiteY8" fmla="*/ 0 h 810959"/>
              <a:gd name="connsiteX0" fmla="*/ 19050 w 9163050"/>
              <a:gd name="connsiteY0" fmla="*/ 0 h 810959"/>
              <a:gd name="connsiteX1" fmla="*/ 9163050 w 9163050"/>
              <a:gd name="connsiteY1" fmla="*/ 0 h 810959"/>
              <a:gd name="connsiteX2" fmla="*/ 9163050 w 9163050"/>
              <a:gd name="connsiteY2" fmla="*/ 500742 h 810959"/>
              <a:gd name="connsiteX3" fmla="*/ 6914970 w 9163050"/>
              <a:gd name="connsiteY3" fmla="*/ 801187 h 810959"/>
              <a:gd name="connsiteX4" fmla="*/ 3885038 w 9163050"/>
              <a:gd name="connsiteY4" fmla="*/ 233363 h 810959"/>
              <a:gd name="connsiteX5" fmla="*/ 1644650 w 9163050"/>
              <a:gd name="connsiteY5" fmla="*/ 621284 h 810959"/>
              <a:gd name="connsiteX6" fmla="*/ 886460 w 9163050"/>
              <a:gd name="connsiteY6" fmla="*/ 633984 h 810959"/>
              <a:gd name="connsiteX7" fmla="*/ 0 w 9163050"/>
              <a:gd name="connsiteY7" fmla="*/ 449834 h 810959"/>
              <a:gd name="connsiteX8" fmla="*/ 19050 w 91630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31950 w 9150350"/>
              <a:gd name="connsiteY5" fmla="*/ 621284 h 810959"/>
              <a:gd name="connsiteX6" fmla="*/ 873760 w 9150350"/>
              <a:gd name="connsiteY6" fmla="*/ 6339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31950 w 9150350"/>
              <a:gd name="connsiteY5" fmla="*/ 6212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19250 w 9150350"/>
              <a:gd name="connsiteY5" fmla="*/ 5831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19250 w 9150350"/>
              <a:gd name="connsiteY5" fmla="*/ 5831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19250 w 9150350"/>
              <a:gd name="connsiteY5" fmla="*/ 583184 h 802448"/>
              <a:gd name="connsiteX6" fmla="*/ 867410 w 9150350"/>
              <a:gd name="connsiteY6" fmla="*/ 583184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50246 w 9150350"/>
              <a:gd name="connsiteY5" fmla="*/ 699421 h 802448"/>
              <a:gd name="connsiteX6" fmla="*/ 867410 w 9150350"/>
              <a:gd name="connsiteY6" fmla="*/ 583184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50246 w 9150350"/>
              <a:gd name="connsiteY5" fmla="*/ 699421 h 802448"/>
              <a:gd name="connsiteX6" fmla="*/ 859660 w 9150350"/>
              <a:gd name="connsiteY6" fmla="*/ 699422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16313"/>
              <a:gd name="connsiteX1" fmla="*/ 9144000 w 9144000"/>
              <a:gd name="connsiteY1" fmla="*/ 0 h 816313"/>
              <a:gd name="connsiteX2" fmla="*/ 9144000 w 9144000"/>
              <a:gd name="connsiteY2" fmla="*/ 500742 h 816313"/>
              <a:gd name="connsiteX3" fmla="*/ 6895920 w 9144000"/>
              <a:gd name="connsiteY3" fmla="*/ 801187 h 816313"/>
              <a:gd name="connsiteX4" fmla="*/ 3935730 w 9144000"/>
              <a:gd name="connsiteY4" fmla="*/ 372848 h 816313"/>
              <a:gd name="connsiteX5" fmla="*/ 1643896 w 9144000"/>
              <a:gd name="connsiteY5" fmla="*/ 699421 h 816313"/>
              <a:gd name="connsiteX6" fmla="*/ 853310 w 9144000"/>
              <a:gd name="connsiteY6" fmla="*/ 699422 h 816313"/>
              <a:gd name="connsiteX7" fmla="*/ 1399 w 9144000"/>
              <a:gd name="connsiteY7" fmla="*/ 508921 h 816313"/>
              <a:gd name="connsiteX8" fmla="*/ 0 w 9144000"/>
              <a:gd name="connsiteY8" fmla="*/ 0 h 816313"/>
              <a:gd name="connsiteX0" fmla="*/ 0 w 9144000"/>
              <a:gd name="connsiteY0" fmla="*/ 0 h 821830"/>
              <a:gd name="connsiteX1" fmla="*/ 9144000 w 9144000"/>
              <a:gd name="connsiteY1" fmla="*/ 0 h 821830"/>
              <a:gd name="connsiteX2" fmla="*/ 9144000 w 9144000"/>
              <a:gd name="connsiteY2" fmla="*/ 500742 h 821830"/>
              <a:gd name="connsiteX3" fmla="*/ 6895920 w 9144000"/>
              <a:gd name="connsiteY3" fmla="*/ 801187 h 821830"/>
              <a:gd name="connsiteX4" fmla="*/ 3935730 w 9144000"/>
              <a:gd name="connsiteY4" fmla="*/ 372848 h 821830"/>
              <a:gd name="connsiteX5" fmla="*/ 1643896 w 9144000"/>
              <a:gd name="connsiteY5" fmla="*/ 699421 h 821830"/>
              <a:gd name="connsiteX6" fmla="*/ 853310 w 9144000"/>
              <a:gd name="connsiteY6" fmla="*/ 699422 h 821830"/>
              <a:gd name="connsiteX7" fmla="*/ 1399 w 9144000"/>
              <a:gd name="connsiteY7" fmla="*/ 508921 h 821830"/>
              <a:gd name="connsiteX8" fmla="*/ 0 w 9144000"/>
              <a:gd name="connsiteY8" fmla="*/ 0 h 821830"/>
              <a:gd name="connsiteX0" fmla="*/ 5745 w 9149745"/>
              <a:gd name="connsiteY0" fmla="*/ 0 h 821830"/>
              <a:gd name="connsiteX1" fmla="*/ 9149745 w 9149745"/>
              <a:gd name="connsiteY1" fmla="*/ 0 h 821830"/>
              <a:gd name="connsiteX2" fmla="*/ 9149745 w 9149745"/>
              <a:gd name="connsiteY2" fmla="*/ 500742 h 821830"/>
              <a:gd name="connsiteX3" fmla="*/ 6901665 w 9149745"/>
              <a:gd name="connsiteY3" fmla="*/ 801187 h 821830"/>
              <a:gd name="connsiteX4" fmla="*/ 3941475 w 9149745"/>
              <a:gd name="connsiteY4" fmla="*/ 372848 h 821830"/>
              <a:gd name="connsiteX5" fmla="*/ 1649641 w 9149745"/>
              <a:gd name="connsiteY5" fmla="*/ 699421 h 821830"/>
              <a:gd name="connsiteX6" fmla="*/ 859055 w 9149745"/>
              <a:gd name="connsiteY6" fmla="*/ 699422 h 821830"/>
              <a:gd name="connsiteX7" fmla="*/ 0 w 9149745"/>
              <a:gd name="connsiteY7" fmla="*/ 516065 h 821830"/>
              <a:gd name="connsiteX8" fmla="*/ 5745 w 9149745"/>
              <a:gd name="connsiteY8" fmla="*/ 0 h 821830"/>
              <a:gd name="connsiteX0" fmla="*/ 5745 w 9149745"/>
              <a:gd name="connsiteY0" fmla="*/ 0 h 821830"/>
              <a:gd name="connsiteX1" fmla="*/ 9149745 w 9149745"/>
              <a:gd name="connsiteY1" fmla="*/ 0 h 821830"/>
              <a:gd name="connsiteX2" fmla="*/ 9149745 w 9149745"/>
              <a:gd name="connsiteY2" fmla="*/ 500742 h 821830"/>
              <a:gd name="connsiteX3" fmla="*/ 6901665 w 9149745"/>
              <a:gd name="connsiteY3" fmla="*/ 801187 h 821830"/>
              <a:gd name="connsiteX4" fmla="*/ 3941475 w 9149745"/>
              <a:gd name="connsiteY4" fmla="*/ 372848 h 821830"/>
              <a:gd name="connsiteX5" fmla="*/ 1649641 w 9149745"/>
              <a:gd name="connsiteY5" fmla="*/ 699421 h 821830"/>
              <a:gd name="connsiteX6" fmla="*/ 859055 w 9149745"/>
              <a:gd name="connsiteY6" fmla="*/ 699422 h 821830"/>
              <a:gd name="connsiteX7" fmla="*/ 0 w 9149745"/>
              <a:gd name="connsiteY7" fmla="*/ 516065 h 821830"/>
              <a:gd name="connsiteX8" fmla="*/ 5745 w 9149745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16065 h 821830"/>
              <a:gd name="connsiteX8" fmla="*/ 3364 w 9147364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27971 h 821830"/>
              <a:gd name="connsiteX8" fmla="*/ 3364 w 9147364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27971 h 821830"/>
              <a:gd name="connsiteX8" fmla="*/ 3364 w 9147364"/>
              <a:gd name="connsiteY8" fmla="*/ 0 h 821830"/>
              <a:gd name="connsiteX0" fmla="*/ 0 w 9144000"/>
              <a:gd name="connsiteY0" fmla="*/ 0 h 821830"/>
              <a:gd name="connsiteX1" fmla="*/ 9144000 w 9144000"/>
              <a:gd name="connsiteY1" fmla="*/ 0 h 821830"/>
              <a:gd name="connsiteX2" fmla="*/ 9144000 w 9144000"/>
              <a:gd name="connsiteY2" fmla="*/ 500742 h 821830"/>
              <a:gd name="connsiteX3" fmla="*/ 6895920 w 9144000"/>
              <a:gd name="connsiteY3" fmla="*/ 801187 h 821830"/>
              <a:gd name="connsiteX4" fmla="*/ 3935730 w 9144000"/>
              <a:gd name="connsiteY4" fmla="*/ 372848 h 821830"/>
              <a:gd name="connsiteX5" fmla="*/ 1643896 w 9144000"/>
              <a:gd name="connsiteY5" fmla="*/ 699421 h 821830"/>
              <a:gd name="connsiteX6" fmla="*/ 853310 w 9144000"/>
              <a:gd name="connsiteY6" fmla="*/ 699422 h 821830"/>
              <a:gd name="connsiteX7" fmla="*/ 44262 w 9144000"/>
              <a:gd name="connsiteY7" fmla="*/ 508921 h 821830"/>
              <a:gd name="connsiteX8" fmla="*/ 0 w 9144000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982" h="821830">
                <a:close/>
                <a:moveTo>
                  <a:pt x="982" y="0"/>
                </a:moveTo>
                <a:lnTo>
                  <a:pt x="9144982" y="0"/>
                </a:lnTo>
                <a:lnTo>
                  <a:pt x="9144982" y="500742"/>
                </a:lnTo>
                <a:cubicBezTo>
                  <a:pt x="8989299" y="567439"/>
                  <a:pt x="8212622" y="908228"/>
                  <a:pt x="6896902" y="801187"/>
                </a:cubicBezTo>
                <a:cubicBezTo>
                  <a:pt x="5581182" y="694146"/>
                  <a:pt x="4812049" y="389809"/>
                  <a:pt x="3936712" y="372848"/>
                </a:cubicBezTo>
                <a:cubicBezTo>
                  <a:pt x="3061375" y="355887"/>
                  <a:pt x="2650524" y="615188"/>
                  <a:pt x="1644878" y="699421"/>
                </a:cubicBezTo>
                <a:cubicBezTo>
                  <a:pt x="1300425" y="734441"/>
                  <a:pt x="1145069" y="712052"/>
                  <a:pt x="854292" y="699422"/>
                </a:cubicBezTo>
                <a:cubicBezTo>
                  <a:pt x="591825" y="672964"/>
                  <a:pt x="142187" y="600298"/>
                  <a:pt x="0" y="532734"/>
                </a:cubicBezTo>
                <a:cubicBezTo>
                  <a:pt x="688" y="518351"/>
                  <a:pt x="2305" y="95038"/>
                  <a:pt x="982" y="0"/>
                </a:cubicBezTo>
              </a:path>
            </a:pathLst>
          </a:custGeom>
          <a:gradFill flip="none" rotWithShape="1">
            <a:gsLst>
              <a:gs pos="0">
                <a:srgbClr val="DBDBDB"/>
              </a:gs>
              <a:gs pos="78000">
                <a:srgbClr val="FFFFFF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7" name="Bild 8" descr="Logo-mit-Claim_Innenseit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242810" y="221897"/>
            <a:ext cx="121285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Freeform 12"/>
          <p:cNvSpPr>
            <a:spLocks/>
          </p:cNvSpPr>
          <p:nvPr userDrawn="1"/>
        </p:nvSpPr>
        <p:spPr bwMode="gray">
          <a:xfrm>
            <a:off x="-6350" y="255769"/>
            <a:ext cx="9154800" cy="712875"/>
          </a:xfrm>
          <a:custGeom>
            <a:avLst/>
            <a:gdLst>
              <a:gd name="T0" fmla="*/ 2880 w 2880"/>
              <a:gd name="T1" fmla="*/ 67 h 224"/>
              <a:gd name="T2" fmla="*/ 1955 w 2880"/>
              <a:gd name="T3" fmla="*/ 130 h 224"/>
              <a:gd name="T4" fmla="*/ 1212 w 2880"/>
              <a:gd name="T5" fmla="*/ 24 h 224"/>
              <a:gd name="T6" fmla="*/ 433 w 2880"/>
              <a:gd name="T7" fmla="*/ 137 h 224"/>
              <a:gd name="T8" fmla="*/ 0 w 2880"/>
              <a:gd name="T9" fmla="*/ 67 h 224"/>
              <a:gd name="T10" fmla="*/ 1 w 2880"/>
              <a:gd name="T11" fmla="*/ 96 h 224"/>
              <a:gd name="T12" fmla="*/ 753 w 2880"/>
              <a:gd name="T13" fmla="*/ 108 h 224"/>
              <a:gd name="T14" fmla="*/ 1561 w 2880"/>
              <a:gd name="T15" fmla="*/ 80 h 224"/>
              <a:gd name="T16" fmla="*/ 2022 w 2880"/>
              <a:gd name="T17" fmla="*/ 160 h 224"/>
              <a:gd name="T18" fmla="*/ 2880 w 2880"/>
              <a:gd name="T19" fmla="*/ 114 h 224"/>
              <a:gd name="T20" fmla="*/ 2880 w 2880"/>
              <a:gd name="T21" fmla="*/ 67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880" h="224">
                <a:moveTo>
                  <a:pt x="2880" y="67"/>
                </a:moveTo>
                <a:cubicBezTo>
                  <a:pt x="2737" y="127"/>
                  <a:pt x="2450" y="206"/>
                  <a:pt x="1955" y="130"/>
                </a:cubicBezTo>
                <a:cubicBezTo>
                  <a:pt x="1571" y="69"/>
                  <a:pt x="1424" y="24"/>
                  <a:pt x="1212" y="24"/>
                </a:cubicBezTo>
                <a:cubicBezTo>
                  <a:pt x="932" y="24"/>
                  <a:pt x="775" y="136"/>
                  <a:pt x="433" y="137"/>
                </a:cubicBezTo>
                <a:cubicBezTo>
                  <a:pt x="184" y="140"/>
                  <a:pt x="0" y="67"/>
                  <a:pt x="0" y="67"/>
                </a:cubicBezTo>
                <a:cubicBezTo>
                  <a:pt x="1" y="96"/>
                  <a:pt x="1" y="96"/>
                  <a:pt x="1" y="96"/>
                </a:cubicBezTo>
                <a:cubicBezTo>
                  <a:pt x="1" y="96"/>
                  <a:pt x="346" y="205"/>
                  <a:pt x="753" y="108"/>
                </a:cubicBezTo>
                <a:cubicBezTo>
                  <a:pt x="1208" y="0"/>
                  <a:pt x="1340" y="47"/>
                  <a:pt x="1561" y="80"/>
                </a:cubicBezTo>
                <a:cubicBezTo>
                  <a:pt x="1627" y="90"/>
                  <a:pt x="1869" y="140"/>
                  <a:pt x="2022" y="160"/>
                </a:cubicBezTo>
                <a:cubicBezTo>
                  <a:pt x="2514" y="224"/>
                  <a:pt x="2716" y="161"/>
                  <a:pt x="2880" y="114"/>
                </a:cubicBezTo>
                <a:cubicBezTo>
                  <a:pt x="2880" y="67"/>
                  <a:pt x="2880" y="67"/>
                  <a:pt x="2880" y="67"/>
                </a:cubicBezTo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charset="0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395287" y="6620701"/>
            <a:ext cx="317586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US" sz="900" dirty="0">
                <a:solidFill>
                  <a:srgbClr val="004179"/>
                </a:solidFill>
              </a:rPr>
              <a:t>© 2015 GELITA AG. Any copies need to be authorized by GELITA</a:t>
            </a:r>
          </a:p>
        </p:txBody>
      </p:sp>
    </p:spTree>
    <p:extLst>
      <p:ext uri="{BB962C8B-B14F-4D97-AF65-F5344CB8AC3E}">
        <p14:creationId xmlns:p14="http://schemas.microsoft.com/office/powerpoint/2010/main" val="2804746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 11" descr="Service-Motiv-(Headset)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Oval 10"/>
          <p:cNvSpPr/>
          <p:nvPr userDrawn="1"/>
        </p:nvSpPr>
        <p:spPr>
          <a:xfrm>
            <a:off x="7224713" y="1708150"/>
            <a:ext cx="1079500" cy="1079500"/>
          </a:xfrm>
          <a:prstGeom prst="ellipse">
            <a:avLst/>
          </a:prstGeom>
          <a:noFill/>
          <a:ln w="38100" cap="flat" cmpd="sng" algn="ctr">
            <a:solidFill>
              <a:srgbClr val="FFA31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9" name="Abgerundetes Rechteck 8"/>
          <p:cNvSpPr/>
          <p:nvPr userDrawn="1"/>
        </p:nvSpPr>
        <p:spPr bwMode="gray">
          <a:xfrm>
            <a:off x="395287" y="1769533"/>
            <a:ext cx="8353425" cy="4747202"/>
          </a:xfrm>
          <a:prstGeom prst="roundRect">
            <a:avLst>
              <a:gd name="adj" fmla="val 5468"/>
            </a:avLst>
          </a:prstGeom>
          <a:gradFill flip="none" rotWithShape="1">
            <a:gsLst>
              <a:gs pos="0">
                <a:schemeClr val="bg1">
                  <a:alpha val="25000"/>
                </a:schemeClr>
              </a:gs>
              <a:gs pos="20000">
                <a:srgbClr val="FFFFFF">
                  <a:alpha val="78000"/>
                </a:srgbClr>
              </a:gs>
              <a:gs pos="74000">
                <a:schemeClr val="bg1">
                  <a:alpha val="43000"/>
                </a:schemeClr>
              </a:gs>
              <a:gs pos="100000">
                <a:schemeClr val="bg1">
                  <a:alpha val="2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rgbClr val="29292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C7BD98F-CB44-460A-AB0F-B78530F77C65}" type="slidenum">
              <a:rPr lang="en-US">
                <a:solidFill>
                  <a:srgbClr val="004179"/>
                </a:solidFill>
              </a:rPr>
              <a:pPr/>
              <a:t>‹#›</a:t>
            </a:fld>
            <a:endParaRPr lang="en-US">
              <a:solidFill>
                <a:srgbClr val="004179"/>
              </a:solidFill>
            </a:endParaRPr>
          </a:p>
        </p:txBody>
      </p:sp>
      <p:sp>
        <p:nvSpPr>
          <p:cNvPr id="6" name="Rechteck 21"/>
          <p:cNvSpPr/>
          <p:nvPr userDrawn="1"/>
        </p:nvSpPr>
        <p:spPr bwMode="gray">
          <a:xfrm>
            <a:off x="0" y="0"/>
            <a:ext cx="9144982" cy="821830"/>
          </a:xfrm>
          <a:custGeom>
            <a:avLst/>
            <a:gdLst>
              <a:gd name="connsiteX0" fmla="*/ 0 w 9144000"/>
              <a:gd name="connsiteY0" fmla="*/ 394689 h 1011420"/>
              <a:gd name="connsiteX1" fmla="*/ 2306652 w 9144000"/>
              <a:gd name="connsiteY1" fmla="*/ 629718 h 1011420"/>
              <a:gd name="connsiteX2" fmla="*/ 5178847 w 9144000"/>
              <a:gd name="connsiteY2" fmla="*/ 639246 h 1011420"/>
              <a:gd name="connsiteX3" fmla="*/ 9144000 w 9144000"/>
              <a:gd name="connsiteY3" fmla="*/ 664654 h 1011420"/>
              <a:gd name="connsiteX4" fmla="*/ 9144000 w 9144000"/>
              <a:gd name="connsiteY4" fmla="*/ 1011420 h 1011420"/>
              <a:gd name="connsiteX5" fmla="*/ 0 w 9144000"/>
              <a:gd name="connsiteY5" fmla="*/ 1011420 h 1011420"/>
              <a:gd name="connsiteX6" fmla="*/ 0 w 9144000"/>
              <a:gd name="connsiteY6" fmla="*/ 394689 h 1011420"/>
              <a:gd name="connsiteX7" fmla="*/ 0 w 9144000"/>
              <a:gd name="connsiteY7" fmla="*/ 0 h 1011420"/>
              <a:gd name="connsiteX8" fmla="*/ 9144000 w 9144000"/>
              <a:gd name="connsiteY8" fmla="*/ 0 h 1011420"/>
              <a:gd name="connsiteX9" fmla="*/ 9144000 w 9144000"/>
              <a:gd name="connsiteY9" fmla="*/ 416922 h 1011420"/>
              <a:gd name="connsiteX10" fmla="*/ 6141540 w 9144000"/>
              <a:gd name="connsiteY10" fmla="*/ 686887 h 1011420"/>
              <a:gd name="connsiteX11" fmla="*/ 3812648 w 9144000"/>
              <a:gd name="connsiteY11" fmla="*/ 286703 h 1011420"/>
              <a:gd name="connsiteX12" fmla="*/ 1375730 w 9144000"/>
              <a:gd name="connsiteY12" fmla="*/ 642422 h 1011420"/>
              <a:gd name="connsiteX13" fmla="*/ 0 w 9144000"/>
              <a:gd name="connsiteY13" fmla="*/ 394689 h 1011420"/>
              <a:gd name="connsiteX14" fmla="*/ 0 w 9144000"/>
              <a:gd name="connsiteY14" fmla="*/ 0 h 1011420"/>
              <a:gd name="connsiteX0" fmla="*/ 0 w 9144000"/>
              <a:gd name="connsiteY0" fmla="*/ 394689 h 1011420"/>
              <a:gd name="connsiteX1" fmla="*/ 2306652 w 9144000"/>
              <a:gd name="connsiteY1" fmla="*/ 629718 h 1011420"/>
              <a:gd name="connsiteX2" fmla="*/ 5178847 w 9144000"/>
              <a:gd name="connsiteY2" fmla="*/ 639246 h 1011420"/>
              <a:gd name="connsiteX3" fmla="*/ 9144000 w 9144000"/>
              <a:gd name="connsiteY3" fmla="*/ 664654 h 1011420"/>
              <a:gd name="connsiteX4" fmla="*/ 9144000 w 9144000"/>
              <a:gd name="connsiteY4" fmla="*/ 1011420 h 1011420"/>
              <a:gd name="connsiteX5" fmla="*/ 0 w 9144000"/>
              <a:gd name="connsiteY5" fmla="*/ 394689 h 1011420"/>
              <a:gd name="connsiteX6" fmla="*/ 0 w 9144000"/>
              <a:gd name="connsiteY6" fmla="*/ 0 h 1011420"/>
              <a:gd name="connsiteX7" fmla="*/ 9144000 w 9144000"/>
              <a:gd name="connsiteY7" fmla="*/ 0 h 1011420"/>
              <a:gd name="connsiteX8" fmla="*/ 9144000 w 9144000"/>
              <a:gd name="connsiteY8" fmla="*/ 416922 h 1011420"/>
              <a:gd name="connsiteX9" fmla="*/ 6141540 w 9144000"/>
              <a:gd name="connsiteY9" fmla="*/ 686887 h 1011420"/>
              <a:gd name="connsiteX10" fmla="*/ 3812648 w 9144000"/>
              <a:gd name="connsiteY10" fmla="*/ 286703 h 1011420"/>
              <a:gd name="connsiteX11" fmla="*/ 1375730 w 9144000"/>
              <a:gd name="connsiteY11" fmla="*/ 642422 h 1011420"/>
              <a:gd name="connsiteX12" fmla="*/ 0 w 9144000"/>
              <a:gd name="connsiteY12" fmla="*/ 394689 h 1011420"/>
              <a:gd name="connsiteX13" fmla="*/ 0 w 9144000"/>
              <a:gd name="connsiteY13" fmla="*/ 0 h 1011420"/>
              <a:gd name="connsiteX0" fmla="*/ 0 w 9144000"/>
              <a:gd name="connsiteY0" fmla="*/ 394689 h 950210"/>
              <a:gd name="connsiteX1" fmla="*/ 2306652 w 9144000"/>
              <a:gd name="connsiteY1" fmla="*/ 629718 h 950210"/>
              <a:gd name="connsiteX2" fmla="*/ 5178847 w 9144000"/>
              <a:gd name="connsiteY2" fmla="*/ 639246 h 950210"/>
              <a:gd name="connsiteX3" fmla="*/ 9144000 w 9144000"/>
              <a:gd name="connsiteY3" fmla="*/ 664654 h 950210"/>
              <a:gd name="connsiteX4" fmla="*/ 0 w 9144000"/>
              <a:gd name="connsiteY4" fmla="*/ 394689 h 950210"/>
              <a:gd name="connsiteX5" fmla="*/ 0 w 9144000"/>
              <a:gd name="connsiteY5" fmla="*/ 0 h 950210"/>
              <a:gd name="connsiteX6" fmla="*/ 9144000 w 9144000"/>
              <a:gd name="connsiteY6" fmla="*/ 0 h 950210"/>
              <a:gd name="connsiteX7" fmla="*/ 9144000 w 9144000"/>
              <a:gd name="connsiteY7" fmla="*/ 416922 h 950210"/>
              <a:gd name="connsiteX8" fmla="*/ 6141540 w 9144000"/>
              <a:gd name="connsiteY8" fmla="*/ 686887 h 950210"/>
              <a:gd name="connsiteX9" fmla="*/ 3812648 w 9144000"/>
              <a:gd name="connsiteY9" fmla="*/ 286703 h 950210"/>
              <a:gd name="connsiteX10" fmla="*/ 1375730 w 9144000"/>
              <a:gd name="connsiteY10" fmla="*/ 642422 h 950210"/>
              <a:gd name="connsiteX11" fmla="*/ 0 w 9144000"/>
              <a:gd name="connsiteY11" fmla="*/ 394689 h 950210"/>
              <a:gd name="connsiteX12" fmla="*/ 0 w 9144000"/>
              <a:gd name="connsiteY12" fmla="*/ 0 h 950210"/>
              <a:gd name="connsiteX0" fmla="*/ 0 w 9144000"/>
              <a:gd name="connsiteY0" fmla="*/ 394689 h 766858"/>
              <a:gd name="connsiteX1" fmla="*/ 2306652 w 9144000"/>
              <a:gd name="connsiteY1" fmla="*/ 629718 h 766858"/>
              <a:gd name="connsiteX2" fmla="*/ 5178847 w 9144000"/>
              <a:gd name="connsiteY2" fmla="*/ 639246 h 766858"/>
              <a:gd name="connsiteX3" fmla="*/ 0 w 9144000"/>
              <a:gd name="connsiteY3" fmla="*/ 394689 h 766858"/>
              <a:gd name="connsiteX4" fmla="*/ 0 w 9144000"/>
              <a:gd name="connsiteY4" fmla="*/ 0 h 766858"/>
              <a:gd name="connsiteX5" fmla="*/ 9144000 w 9144000"/>
              <a:gd name="connsiteY5" fmla="*/ 0 h 766858"/>
              <a:gd name="connsiteX6" fmla="*/ 9144000 w 9144000"/>
              <a:gd name="connsiteY6" fmla="*/ 416922 h 766858"/>
              <a:gd name="connsiteX7" fmla="*/ 6141540 w 9144000"/>
              <a:gd name="connsiteY7" fmla="*/ 686887 h 766858"/>
              <a:gd name="connsiteX8" fmla="*/ 3812648 w 9144000"/>
              <a:gd name="connsiteY8" fmla="*/ 286703 h 766858"/>
              <a:gd name="connsiteX9" fmla="*/ 1375730 w 9144000"/>
              <a:gd name="connsiteY9" fmla="*/ 642422 h 766858"/>
              <a:gd name="connsiteX10" fmla="*/ 0 w 9144000"/>
              <a:gd name="connsiteY10" fmla="*/ 394689 h 766858"/>
              <a:gd name="connsiteX11" fmla="*/ 0 w 9144000"/>
              <a:gd name="connsiteY11" fmla="*/ 0 h 766858"/>
              <a:gd name="connsiteX0" fmla="*/ 0 w 9144000"/>
              <a:gd name="connsiteY0" fmla="*/ 0 h 766858"/>
              <a:gd name="connsiteX1" fmla="*/ 9144000 w 9144000"/>
              <a:gd name="connsiteY1" fmla="*/ 0 h 766858"/>
              <a:gd name="connsiteX2" fmla="*/ 9144000 w 9144000"/>
              <a:gd name="connsiteY2" fmla="*/ 416922 h 766858"/>
              <a:gd name="connsiteX3" fmla="*/ 6141540 w 9144000"/>
              <a:gd name="connsiteY3" fmla="*/ 686887 h 766858"/>
              <a:gd name="connsiteX4" fmla="*/ 3812648 w 9144000"/>
              <a:gd name="connsiteY4" fmla="*/ 286703 h 766858"/>
              <a:gd name="connsiteX5" fmla="*/ 1375730 w 9144000"/>
              <a:gd name="connsiteY5" fmla="*/ 642422 h 766858"/>
              <a:gd name="connsiteX6" fmla="*/ 0 w 9144000"/>
              <a:gd name="connsiteY6" fmla="*/ 394689 h 766858"/>
              <a:gd name="connsiteX7" fmla="*/ 0 w 9144000"/>
              <a:gd name="connsiteY7" fmla="*/ 0 h 766858"/>
              <a:gd name="connsiteX8" fmla="*/ 2398092 w 9144000"/>
              <a:gd name="connsiteY8" fmla="*/ 721158 h 766858"/>
              <a:gd name="connsiteX0" fmla="*/ 0 w 9144000"/>
              <a:gd name="connsiteY0" fmla="*/ 0 h 766858"/>
              <a:gd name="connsiteX1" fmla="*/ 9144000 w 9144000"/>
              <a:gd name="connsiteY1" fmla="*/ 0 h 766858"/>
              <a:gd name="connsiteX2" fmla="*/ 9144000 w 9144000"/>
              <a:gd name="connsiteY2" fmla="*/ 416922 h 766858"/>
              <a:gd name="connsiteX3" fmla="*/ 6141540 w 9144000"/>
              <a:gd name="connsiteY3" fmla="*/ 686887 h 766858"/>
              <a:gd name="connsiteX4" fmla="*/ 3812648 w 9144000"/>
              <a:gd name="connsiteY4" fmla="*/ 286703 h 766858"/>
              <a:gd name="connsiteX5" fmla="*/ 1375730 w 9144000"/>
              <a:gd name="connsiteY5" fmla="*/ 642422 h 766858"/>
              <a:gd name="connsiteX6" fmla="*/ 0 w 9144000"/>
              <a:gd name="connsiteY6" fmla="*/ 394689 h 766858"/>
              <a:gd name="connsiteX7" fmla="*/ 0 w 9144000"/>
              <a:gd name="connsiteY7" fmla="*/ 0 h 766858"/>
              <a:gd name="connsiteX0" fmla="*/ 0 w 9144000"/>
              <a:gd name="connsiteY0" fmla="*/ 0 h 692144"/>
              <a:gd name="connsiteX1" fmla="*/ 9144000 w 9144000"/>
              <a:gd name="connsiteY1" fmla="*/ 0 h 692144"/>
              <a:gd name="connsiteX2" fmla="*/ 9144000 w 9144000"/>
              <a:gd name="connsiteY2" fmla="*/ 500742 h 692144"/>
              <a:gd name="connsiteX3" fmla="*/ 6141540 w 9144000"/>
              <a:gd name="connsiteY3" fmla="*/ 686887 h 692144"/>
              <a:gd name="connsiteX4" fmla="*/ 3812648 w 9144000"/>
              <a:gd name="connsiteY4" fmla="*/ 286703 h 692144"/>
              <a:gd name="connsiteX5" fmla="*/ 1375730 w 9144000"/>
              <a:gd name="connsiteY5" fmla="*/ 642422 h 692144"/>
              <a:gd name="connsiteX6" fmla="*/ 0 w 9144000"/>
              <a:gd name="connsiteY6" fmla="*/ 394689 h 692144"/>
              <a:gd name="connsiteX7" fmla="*/ 0 w 9144000"/>
              <a:gd name="connsiteY7" fmla="*/ 0 h 692144"/>
              <a:gd name="connsiteX0" fmla="*/ 0 w 9144000"/>
              <a:gd name="connsiteY0" fmla="*/ 0 h 804424"/>
              <a:gd name="connsiteX1" fmla="*/ 9144000 w 9144000"/>
              <a:gd name="connsiteY1" fmla="*/ 0 h 804424"/>
              <a:gd name="connsiteX2" fmla="*/ 9144000 w 9144000"/>
              <a:gd name="connsiteY2" fmla="*/ 500742 h 804424"/>
              <a:gd name="connsiteX3" fmla="*/ 6895920 w 9144000"/>
              <a:gd name="connsiteY3" fmla="*/ 801187 h 804424"/>
              <a:gd name="connsiteX4" fmla="*/ 3812648 w 9144000"/>
              <a:gd name="connsiteY4" fmla="*/ 286703 h 804424"/>
              <a:gd name="connsiteX5" fmla="*/ 1375730 w 9144000"/>
              <a:gd name="connsiteY5" fmla="*/ 642422 h 804424"/>
              <a:gd name="connsiteX6" fmla="*/ 0 w 9144000"/>
              <a:gd name="connsiteY6" fmla="*/ 394689 h 804424"/>
              <a:gd name="connsiteX7" fmla="*/ 0 w 9144000"/>
              <a:gd name="connsiteY7" fmla="*/ 0 h 804424"/>
              <a:gd name="connsiteX0" fmla="*/ 0 w 9144000"/>
              <a:gd name="connsiteY0" fmla="*/ 0 h 802352"/>
              <a:gd name="connsiteX1" fmla="*/ 9144000 w 9144000"/>
              <a:gd name="connsiteY1" fmla="*/ 0 h 802352"/>
              <a:gd name="connsiteX2" fmla="*/ 9144000 w 9144000"/>
              <a:gd name="connsiteY2" fmla="*/ 500742 h 802352"/>
              <a:gd name="connsiteX3" fmla="*/ 6895920 w 9144000"/>
              <a:gd name="connsiteY3" fmla="*/ 801187 h 802352"/>
              <a:gd name="connsiteX4" fmla="*/ 3812648 w 9144000"/>
              <a:gd name="connsiteY4" fmla="*/ 286703 h 802352"/>
              <a:gd name="connsiteX5" fmla="*/ 1375730 w 9144000"/>
              <a:gd name="connsiteY5" fmla="*/ 642422 h 802352"/>
              <a:gd name="connsiteX6" fmla="*/ 0 w 9144000"/>
              <a:gd name="connsiteY6" fmla="*/ 394689 h 802352"/>
              <a:gd name="connsiteX7" fmla="*/ 0 w 9144000"/>
              <a:gd name="connsiteY7" fmla="*/ 0 h 80235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75730 w 9144000"/>
              <a:gd name="connsiteY5" fmla="*/ 642422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86840 w 9144000"/>
              <a:gd name="connsiteY5" fmla="*/ 553974 h 805292"/>
              <a:gd name="connsiteX6" fmla="*/ 1375730 w 9144000"/>
              <a:gd name="connsiteY6" fmla="*/ 642422 h 805292"/>
              <a:gd name="connsiteX7" fmla="*/ 0 w 9144000"/>
              <a:gd name="connsiteY7" fmla="*/ 394689 h 805292"/>
              <a:gd name="connsiteX8" fmla="*/ 0 w 9144000"/>
              <a:gd name="connsiteY8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86840 w 9144000"/>
              <a:gd name="connsiteY5" fmla="*/ 55397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432560 w 9144000"/>
              <a:gd name="connsiteY5" fmla="*/ 57683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432560 w 9144000"/>
              <a:gd name="connsiteY5" fmla="*/ 57683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992"/>
              <a:gd name="connsiteX1" fmla="*/ 9144000 w 9144000"/>
              <a:gd name="connsiteY1" fmla="*/ 0 h 805992"/>
              <a:gd name="connsiteX2" fmla="*/ 9144000 w 9144000"/>
              <a:gd name="connsiteY2" fmla="*/ 500742 h 805992"/>
              <a:gd name="connsiteX3" fmla="*/ 6895920 w 9144000"/>
              <a:gd name="connsiteY3" fmla="*/ 801187 h 805992"/>
              <a:gd name="connsiteX4" fmla="*/ 3865988 w 9144000"/>
              <a:gd name="connsiteY4" fmla="*/ 233363 h 805992"/>
              <a:gd name="connsiteX5" fmla="*/ 1432560 w 9144000"/>
              <a:gd name="connsiteY5" fmla="*/ 576834 h 805992"/>
              <a:gd name="connsiteX6" fmla="*/ 0 w 9144000"/>
              <a:gd name="connsiteY6" fmla="*/ 394689 h 805992"/>
              <a:gd name="connsiteX7" fmla="*/ 0 w 9144000"/>
              <a:gd name="connsiteY7" fmla="*/ 0 h 805992"/>
              <a:gd name="connsiteX0" fmla="*/ 0 w 9144000"/>
              <a:gd name="connsiteY0" fmla="*/ 0 h 805992"/>
              <a:gd name="connsiteX1" fmla="*/ 9144000 w 9144000"/>
              <a:gd name="connsiteY1" fmla="*/ 0 h 805992"/>
              <a:gd name="connsiteX2" fmla="*/ 9144000 w 9144000"/>
              <a:gd name="connsiteY2" fmla="*/ 500742 h 805992"/>
              <a:gd name="connsiteX3" fmla="*/ 6895920 w 9144000"/>
              <a:gd name="connsiteY3" fmla="*/ 801187 h 805992"/>
              <a:gd name="connsiteX4" fmla="*/ 3865988 w 9144000"/>
              <a:gd name="connsiteY4" fmla="*/ 233363 h 805992"/>
              <a:gd name="connsiteX5" fmla="*/ 1432560 w 9144000"/>
              <a:gd name="connsiteY5" fmla="*/ 576834 h 805992"/>
              <a:gd name="connsiteX6" fmla="*/ 0 w 9144000"/>
              <a:gd name="connsiteY6" fmla="*/ 394689 h 805992"/>
              <a:gd name="connsiteX7" fmla="*/ 0 w 9144000"/>
              <a:gd name="connsiteY7" fmla="*/ 0 h 805992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390650 w 9144000"/>
              <a:gd name="connsiteY5" fmla="*/ 627634 h 810959"/>
              <a:gd name="connsiteX6" fmla="*/ 1432560 w 9144000"/>
              <a:gd name="connsiteY6" fmla="*/ 57683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390650 w 9144000"/>
              <a:gd name="connsiteY5" fmla="*/ 62763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25600 w 9144000"/>
              <a:gd name="connsiteY5" fmla="*/ 6212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48046 w 9192046"/>
              <a:gd name="connsiteY0" fmla="*/ 0 h 810959"/>
              <a:gd name="connsiteX1" fmla="*/ 9192046 w 9192046"/>
              <a:gd name="connsiteY1" fmla="*/ 0 h 810959"/>
              <a:gd name="connsiteX2" fmla="*/ 9192046 w 9192046"/>
              <a:gd name="connsiteY2" fmla="*/ 500742 h 810959"/>
              <a:gd name="connsiteX3" fmla="*/ 6943966 w 9192046"/>
              <a:gd name="connsiteY3" fmla="*/ 801187 h 810959"/>
              <a:gd name="connsiteX4" fmla="*/ 3914034 w 9192046"/>
              <a:gd name="connsiteY4" fmla="*/ 233363 h 810959"/>
              <a:gd name="connsiteX5" fmla="*/ 1673646 w 9192046"/>
              <a:gd name="connsiteY5" fmla="*/ 621284 h 810959"/>
              <a:gd name="connsiteX6" fmla="*/ 915456 w 9192046"/>
              <a:gd name="connsiteY6" fmla="*/ 633984 h 810959"/>
              <a:gd name="connsiteX7" fmla="*/ 54396 w 9192046"/>
              <a:gd name="connsiteY7" fmla="*/ 456184 h 810959"/>
              <a:gd name="connsiteX8" fmla="*/ 79796 w 9192046"/>
              <a:gd name="connsiteY8" fmla="*/ 458189 h 810959"/>
              <a:gd name="connsiteX9" fmla="*/ 48046 w 9192046"/>
              <a:gd name="connsiteY9" fmla="*/ 0 h 810959"/>
              <a:gd name="connsiteX0" fmla="*/ 59284 w 9203284"/>
              <a:gd name="connsiteY0" fmla="*/ 0 h 810959"/>
              <a:gd name="connsiteX1" fmla="*/ 9203284 w 9203284"/>
              <a:gd name="connsiteY1" fmla="*/ 0 h 810959"/>
              <a:gd name="connsiteX2" fmla="*/ 9203284 w 9203284"/>
              <a:gd name="connsiteY2" fmla="*/ 500742 h 810959"/>
              <a:gd name="connsiteX3" fmla="*/ 6955204 w 9203284"/>
              <a:gd name="connsiteY3" fmla="*/ 801187 h 810959"/>
              <a:gd name="connsiteX4" fmla="*/ 3925272 w 9203284"/>
              <a:gd name="connsiteY4" fmla="*/ 233363 h 810959"/>
              <a:gd name="connsiteX5" fmla="*/ 1684884 w 9203284"/>
              <a:gd name="connsiteY5" fmla="*/ 621284 h 810959"/>
              <a:gd name="connsiteX6" fmla="*/ 926694 w 9203284"/>
              <a:gd name="connsiteY6" fmla="*/ 633984 h 810959"/>
              <a:gd name="connsiteX7" fmla="*/ 65634 w 9203284"/>
              <a:gd name="connsiteY7" fmla="*/ 456184 h 810959"/>
              <a:gd name="connsiteX8" fmla="*/ 59284 w 9203284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25600 w 9144000"/>
              <a:gd name="connsiteY5" fmla="*/ 621284 h 810959"/>
              <a:gd name="connsiteX6" fmla="*/ 867410 w 9144000"/>
              <a:gd name="connsiteY6" fmla="*/ 633984 h 810959"/>
              <a:gd name="connsiteX7" fmla="*/ 6350 w 9144000"/>
              <a:gd name="connsiteY7" fmla="*/ 456184 h 810959"/>
              <a:gd name="connsiteX8" fmla="*/ 0 w 9144000"/>
              <a:gd name="connsiteY8" fmla="*/ 0 h 810959"/>
              <a:gd name="connsiteX0" fmla="*/ 19050 w 9163050"/>
              <a:gd name="connsiteY0" fmla="*/ 0 h 810959"/>
              <a:gd name="connsiteX1" fmla="*/ 9163050 w 9163050"/>
              <a:gd name="connsiteY1" fmla="*/ 0 h 810959"/>
              <a:gd name="connsiteX2" fmla="*/ 9163050 w 9163050"/>
              <a:gd name="connsiteY2" fmla="*/ 500742 h 810959"/>
              <a:gd name="connsiteX3" fmla="*/ 6914970 w 9163050"/>
              <a:gd name="connsiteY3" fmla="*/ 801187 h 810959"/>
              <a:gd name="connsiteX4" fmla="*/ 3885038 w 9163050"/>
              <a:gd name="connsiteY4" fmla="*/ 233363 h 810959"/>
              <a:gd name="connsiteX5" fmla="*/ 1644650 w 9163050"/>
              <a:gd name="connsiteY5" fmla="*/ 621284 h 810959"/>
              <a:gd name="connsiteX6" fmla="*/ 886460 w 9163050"/>
              <a:gd name="connsiteY6" fmla="*/ 633984 h 810959"/>
              <a:gd name="connsiteX7" fmla="*/ 0 w 9163050"/>
              <a:gd name="connsiteY7" fmla="*/ 449834 h 810959"/>
              <a:gd name="connsiteX8" fmla="*/ 19050 w 91630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31950 w 9150350"/>
              <a:gd name="connsiteY5" fmla="*/ 621284 h 810959"/>
              <a:gd name="connsiteX6" fmla="*/ 873760 w 9150350"/>
              <a:gd name="connsiteY6" fmla="*/ 6339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31950 w 9150350"/>
              <a:gd name="connsiteY5" fmla="*/ 6212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19250 w 9150350"/>
              <a:gd name="connsiteY5" fmla="*/ 5831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19250 w 9150350"/>
              <a:gd name="connsiteY5" fmla="*/ 5831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19250 w 9150350"/>
              <a:gd name="connsiteY5" fmla="*/ 583184 h 802448"/>
              <a:gd name="connsiteX6" fmla="*/ 867410 w 9150350"/>
              <a:gd name="connsiteY6" fmla="*/ 583184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50246 w 9150350"/>
              <a:gd name="connsiteY5" fmla="*/ 699421 h 802448"/>
              <a:gd name="connsiteX6" fmla="*/ 867410 w 9150350"/>
              <a:gd name="connsiteY6" fmla="*/ 583184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50246 w 9150350"/>
              <a:gd name="connsiteY5" fmla="*/ 699421 h 802448"/>
              <a:gd name="connsiteX6" fmla="*/ 859660 w 9150350"/>
              <a:gd name="connsiteY6" fmla="*/ 699422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16313"/>
              <a:gd name="connsiteX1" fmla="*/ 9144000 w 9144000"/>
              <a:gd name="connsiteY1" fmla="*/ 0 h 816313"/>
              <a:gd name="connsiteX2" fmla="*/ 9144000 w 9144000"/>
              <a:gd name="connsiteY2" fmla="*/ 500742 h 816313"/>
              <a:gd name="connsiteX3" fmla="*/ 6895920 w 9144000"/>
              <a:gd name="connsiteY3" fmla="*/ 801187 h 816313"/>
              <a:gd name="connsiteX4" fmla="*/ 3935730 w 9144000"/>
              <a:gd name="connsiteY4" fmla="*/ 372848 h 816313"/>
              <a:gd name="connsiteX5" fmla="*/ 1643896 w 9144000"/>
              <a:gd name="connsiteY5" fmla="*/ 699421 h 816313"/>
              <a:gd name="connsiteX6" fmla="*/ 853310 w 9144000"/>
              <a:gd name="connsiteY6" fmla="*/ 699422 h 816313"/>
              <a:gd name="connsiteX7" fmla="*/ 1399 w 9144000"/>
              <a:gd name="connsiteY7" fmla="*/ 508921 h 816313"/>
              <a:gd name="connsiteX8" fmla="*/ 0 w 9144000"/>
              <a:gd name="connsiteY8" fmla="*/ 0 h 816313"/>
              <a:gd name="connsiteX0" fmla="*/ 0 w 9144000"/>
              <a:gd name="connsiteY0" fmla="*/ 0 h 821830"/>
              <a:gd name="connsiteX1" fmla="*/ 9144000 w 9144000"/>
              <a:gd name="connsiteY1" fmla="*/ 0 h 821830"/>
              <a:gd name="connsiteX2" fmla="*/ 9144000 w 9144000"/>
              <a:gd name="connsiteY2" fmla="*/ 500742 h 821830"/>
              <a:gd name="connsiteX3" fmla="*/ 6895920 w 9144000"/>
              <a:gd name="connsiteY3" fmla="*/ 801187 h 821830"/>
              <a:gd name="connsiteX4" fmla="*/ 3935730 w 9144000"/>
              <a:gd name="connsiteY4" fmla="*/ 372848 h 821830"/>
              <a:gd name="connsiteX5" fmla="*/ 1643896 w 9144000"/>
              <a:gd name="connsiteY5" fmla="*/ 699421 h 821830"/>
              <a:gd name="connsiteX6" fmla="*/ 853310 w 9144000"/>
              <a:gd name="connsiteY6" fmla="*/ 699422 h 821830"/>
              <a:gd name="connsiteX7" fmla="*/ 1399 w 9144000"/>
              <a:gd name="connsiteY7" fmla="*/ 508921 h 821830"/>
              <a:gd name="connsiteX8" fmla="*/ 0 w 9144000"/>
              <a:gd name="connsiteY8" fmla="*/ 0 h 821830"/>
              <a:gd name="connsiteX0" fmla="*/ 5745 w 9149745"/>
              <a:gd name="connsiteY0" fmla="*/ 0 h 821830"/>
              <a:gd name="connsiteX1" fmla="*/ 9149745 w 9149745"/>
              <a:gd name="connsiteY1" fmla="*/ 0 h 821830"/>
              <a:gd name="connsiteX2" fmla="*/ 9149745 w 9149745"/>
              <a:gd name="connsiteY2" fmla="*/ 500742 h 821830"/>
              <a:gd name="connsiteX3" fmla="*/ 6901665 w 9149745"/>
              <a:gd name="connsiteY3" fmla="*/ 801187 h 821830"/>
              <a:gd name="connsiteX4" fmla="*/ 3941475 w 9149745"/>
              <a:gd name="connsiteY4" fmla="*/ 372848 h 821830"/>
              <a:gd name="connsiteX5" fmla="*/ 1649641 w 9149745"/>
              <a:gd name="connsiteY5" fmla="*/ 699421 h 821830"/>
              <a:gd name="connsiteX6" fmla="*/ 859055 w 9149745"/>
              <a:gd name="connsiteY6" fmla="*/ 699422 h 821830"/>
              <a:gd name="connsiteX7" fmla="*/ 0 w 9149745"/>
              <a:gd name="connsiteY7" fmla="*/ 516065 h 821830"/>
              <a:gd name="connsiteX8" fmla="*/ 5745 w 9149745"/>
              <a:gd name="connsiteY8" fmla="*/ 0 h 821830"/>
              <a:gd name="connsiteX0" fmla="*/ 5745 w 9149745"/>
              <a:gd name="connsiteY0" fmla="*/ 0 h 821830"/>
              <a:gd name="connsiteX1" fmla="*/ 9149745 w 9149745"/>
              <a:gd name="connsiteY1" fmla="*/ 0 h 821830"/>
              <a:gd name="connsiteX2" fmla="*/ 9149745 w 9149745"/>
              <a:gd name="connsiteY2" fmla="*/ 500742 h 821830"/>
              <a:gd name="connsiteX3" fmla="*/ 6901665 w 9149745"/>
              <a:gd name="connsiteY3" fmla="*/ 801187 h 821830"/>
              <a:gd name="connsiteX4" fmla="*/ 3941475 w 9149745"/>
              <a:gd name="connsiteY4" fmla="*/ 372848 h 821830"/>
              <a:gd name="connsiteX5" fmla="*/ 1649641 w 9149745"/>
              <a:gd name="connsiteY5" fmla="*/ 699421 h 821830"/>
              <a:gd name="connsiteX6" fmla="*/ 859055 w 9149745"/>
              <a:gd name="connsiteY6" fmla="*/ 699422 h 821830"/>
              <a:gd name="connsiteX7" fmla="*/ 0 w 9149745"/>
              <a:gd name="connsiteY7" fmla="*/ 516065 h 821830"/>
              <a:gd name="connsiteX8" fmla="*/ 5745 w 9149745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16065 h 821830"/>
              <a:gd name="connsiteX8" fmla="*/ 3364 w 9147364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27971 h 821830"/>
              <a:gd name="connsiteX8" fmla="*/ 3364 w 9147364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27971 h 821830"/>
              <a:gd name="connsiteX8" fmla="*/ 3364 w 9147364"/>
              <a:gd name="connsiteY8" fmla="*/ 0 h 821830"/>
              <a:gd name="connsiteX0" fmla="*/ 0 w 9144000"/>
              <a:gd name="connsiteY0" fmla="*/ 0 h 821830"/>
              <a:gd name="connsiteX1" fmla="*/ 9144000 w 9144000"/>
              <a:gd name="connsiteY1" fmla="*/ 0 h 821830"/>
              <a:gd name="connsiteX2" fmla="*/ 9144000 w 9144000"/>
              <a:gd name="connsiteY2" fmla="*/ 500742 h 821830"/>
              <a:gd name="connsiteX3" fmla="*/ 6895920 w 9144000"/>
              <a:gd name="connsiteY3" fmla="*/ 801187 h 821830"/>
              <a:gd name="connsiteX4" fmla="*/ 3935730 w 9144000"/>
              <a:gd name="connsiteY4" fmla="*/ 372848 h 821830"/>
              <a:gd name="connsiteX5" fmla="*/ 1643896 w 9144000"/>
              <a:gd name="connsiteY5" fmla="*/ 699421 h 821830"/>
              <a:gd name="connsiteX6" fmla="*/ 853310 w 9144000"/>
              <a:gd name="connsiteY6" fmla="*/ 699422 h 821830"/>
              <a:gd name="connsiteX7" fmla="*/ 44262 w 9144000"/>
              <a:gd name="connsiteY7" fmla="*/ 508921 h 821830"/>
              <a:gd name="connsiteX8" fmla="*/ 0 w 9144000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982" h="821830">
                <a:close/>
                <a:moveTo>
                  <a:pt x="982" y="0"/>
                </a:moveTo>
                <a:lnTo>
                  <a:pt x="9144982" y="0"/>
                </a:lnTo>
                <a:lnTo>
                  <a:pt x="9144982" y="500742"/>
                </a:lnTo>
                <a:cubicBezTo>
                  <a:pt x="8989299" y="567439"/>
                  <a:pt x="8212622" y="908228"/>
                  <a:pt x="6896902" y="801187"/>
                </a:cubicBezTo>
                <a:cubicBezTo>
                  <a:pt x="5581182" y="694146"/>
                  <a:pt x="4812049" y="389809"/>
                  <a:pt x="3936712" y="372848"/>
                </a:cubicBezTo>
                <a:cubicBezTo>
                  <a:pt x="3061375" y="355887"/>
                  <a:pt x="2650524" y="615188"/>
                  <a:pt x="1644878" y="699421"/>
                </a:cubicBezTo>
                <a:cubicBezTo>
                  <a:pt x="1300425" y="734441"/>
                  <a:pt x="1145069" y="712052"/>
                  <a:pt x="854292" y="699422"/>
                </a:cubicBezTo>
                <a:cubicBezTo>
                  <a:pt x="591825" y="672964"/>
                  <a:pt x="142187" y="600298"/>
                  <a:pt x="0" y="532734"/>
                </a:cubicBezTo>
                <a:cubicBezTo>
                  <a:pt x="688" y="518351"/>
                  <a:pt x="2305" y="95038"/>
                  <a:pt x="982" y="0"/>
                </a:cubicBezTo>
              </a:path>
            </a:pathLst>
          </a:custGeom>
          <a:gradFill flip="none" rotWithShape="1">
            <a:gsLst>
              <a:gs pos="0">
                <a:srgbClr val="DBDBDB"/>
              </a:gs>
              <a:gs pos="78000">
                <a:srgbClr val="FFFFFF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7" name="Bild 8" descr="Logo-mit-Claim_Innenseit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242810" y="221897"/>
            <a:ext cx="121285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Freeform 12"/>
          <p:cNvSpPr>
            <a:spLocks/>
          </p:cNvSpPr>
          <p:nvPr userDrawn="1"/>
        </p:nvSpPr>
        <p:spPr bwMode="gray">
          <a:xfrm>
            <a:off x="-6350" y="255769"/>
            <a:ext cx="9154800" cy="712875"/>
          </a:xfrm>
          <a:custGeom>
            <a:avLst/>
            <a:gdLst>
              <a:gd name="T0" fmla="*/ 2880 w 2880"/>
              <a:gd name="T1" fmla="*/ 67 h 224"/>
              <a:gd name="T2" fmla="*/ 1955 w 2880"/>
              <a:gd name="T3" fmla="*/ 130 h 224"/>
              <a:gd name="T4" fmla="*/ 1212 w 2880"/>
              <a:gd name="T5" fmla="*/ 24 h 224"/>
              <a:gd name="T6" fmla="*/ 433 w 2880"/>
              <a:gd name="T7" fmla="*/ 137 h 224"/>
              <a:gd name="T8" fmla="*/ 0 w 2880"/>
              <a:gd name="T9" fmla="*/ 67 h 224"/>
              <a:gd name="T10" fmla="*/ 1 w 2880"/>
              <a:gd name="T11" fmla="*/ 96 h 224"/>
              <a:gd name="T12" fmla="*/ 753 w 2880"/>
              <a:gd name="T13" fmla="*/ 108 h 224"/>
              <a:gd name="T14" fmla="*/ 1561 w 2880"/>
              <a:gd name="T15" fmla="*/ 80 h 224"/>
              <a:gd name="T16" fmla="*/ 2022 w 2880"/>
              <a:gd name="T17" fmla="*/ 160 h 224"/>
              <a:gd name="T18" fmla="*/ 2880 w 2880"/>
              <a:gd name="T19" fmla="*/ 114 h 224"/>
              <a:gd name="T20" fmla="*/ 2880 w 2880"/>
              <a:gd name="T21" fmla="*/ 67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880" h="224">
                <a:moveTo>
                  <a:pt x="2880" y="67"/>
                </a:moveTo>
                <a:cubicBezTo>
                  <a:pt x="2737" y="127"/>
                  <a:pt x="2450" y="206"/>
                  <a:pt x="1955" y="130"/>
                </a:cubicBezTo>
                <a:cubicBezTo>
                  <a:pt x="1571" y="69"/>
                  <a:pt x="1424" y="24"/>
                  <a:pt x="1212" y="24"/>
                </a:cubicBezTo>
                <a:cubicBezTo>
                  <a:pt x="932" y="24"/>
                  <a:pt x="775" y="136"/>
                  <a:pt x="433" y="137"/>
                </a:cubicBezTo>
                <a:cubicBezTo>
                  <a:pt x="184" y="140"/>
                  <a:pt x="0" y="67"/>
                  <a:pt x="0" y="67"/>
                </a:cubicBezTo>
                <a:cubicBezTo>
                  <a:pt x="1" y="96"/>
                  <a:pt x="1" y="96"/>
                  <a:pt x="1" y="96"/>
                </a:cubicBezTo>
                <a:cubicBezTo>
                  <a:pt x="1" y="96"/>
                  <a:pt x="346" y="205"/>
                  <a:pt x="753" y="108"/>
                </a:cubicBezTo>
                <a:cubicBezTo>
                  <a:pt x="1208" y="0"/>
                  <a:pt x="1340" y="47"/>
                  <a:pt x="1561" y="80"/>
                </a:cubicBezTo>
                <a:cubicBezTo>
                  <a:pt x="1627" y="90"/>
                  <a:pt x="1869" y="140"/>
                  <a:pt x="2022" y="160"/>
                </a:cubicBezTo>
                <a:cubicBezTo>
                  <a:pt x="2514" y="224"/>
                  <a:pt x="2716" y="161"/>
                  <a:pt x="2880" y="114"/>
                </a:cubicBezTo>
                <a:cubicBezTo>
                  <a:pt x="2880" y="67"/>
                  <a:pt x="2880" y="67"/>
                  <a:pt x="2880" y="67"/>
                </a:cubicBezTo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charset="0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395287" y="6621819"/>
            <a:ext cx="317586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US" sz="900" dirty="0">
                <a:solidFill>
                  <a:srgbClr val="004179"/>
                </a:solidFill>
              </a:rPr>
              <a:t>© 2015 GELITA AG. Any copies need to be authorized by GELITA</a:t>
            </a:r>
          </a:p>
        </p:txBody>
      </p:sp>
    </p:spTree>
    <p:extLst>
      <p:ext uri="{BB962C8B-B14F-4D97-AF65-F5344CB8AC3E}">
        <p14:creationId xmlns:p14="http://schemas.microsoft.com/office/powerpoint/2010/main" val="1654680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11" descr="Service-Motiv-(Headset)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8" y="340822"/>
            <a:ext cx="9140825" cy="6517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Oval 7"/>
          <p:cNvSpPr/>
          <p:nvPr userDrawn="1"/>
        </p:nvSpPr>
        <p:spPr>
          <a:xfrm>
            <a:off x="6503988" y="4191000"/>
            <a:ext cx="1439862" cy="1439863"/>
          </a:xfrm>
          <a:prstGeom prst="ellipse">
            <a:avLst/>
          </a:prstGeom>
          <a:noFill/>
          <a:ln w="38100" cap="flat" cmpd="sng" algn="ctr">
            <a:solidFill>
              <a:srgbClr val="FFA01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9" name="Abgerundetes Rechteck 8"/>
          <p:cNvSpPr/>
          <p:nvPr userDrawn="1"/>
        </p:nvSpPr>
        <p:spPr bwMode="gray">
          <a:xfrm>
            <a:off x="395287" y="1769533"/>
            <a:ext cx="8353425" cy="4747202"/>
          </a:xfrm>
          <a:prstGeom prst="roundRect">
            <a:avLst>
              <a:gd name="adj" fmla="val 5468"/>
            </a:avLst>
          </a:prstGeom>
          <a:gradFill flip="none" rotWithShape="1">
            <a:gsLst>
              <a:gs pos="0">
                <a:schemeClr val="bg1">
                  <a:alpha val="25000"/>
                </a:schemeClr>
              </a:gs>
              <a:gs pos="20000">
                <a:srgbClr val="FFFFFF">
                  <a:alpha val="78000"/>
                </a:srgbClr>
              </a:gs>
              <a:gs pos="74000">
                <a:schemeClr val="bg1">
                  <a:alpha val="43000"/>
                </a:schemeClr>
              </a:gs>
              <a:gs pos="100000">
                <a:schemeClr val="bg1">
                  <a:alpha val="2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rgbClr val="29292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C7BD98F-CB44-460A-AB0F-B78530F77C65}" type="slidenum">
              <a:rPr lang="en-US">
                <a:solidFill>
                  <a:srgbClr val="004179"/>
                </a:solidFill>
              </a:rPr>
              <a:pPr/>
              <a:t>‹#›</a:t>
            </a:fld>
            <a:endParaRPr lang="en-US">
              <a:solidFill>
                <a:srgbClr val="004179"/>
              </a:solidFill>
            </a:endParaRPr>
          </a:p>
        </p:txBody>
      </p:sp>
      <p:sp>
        <p:nvSpPr>
          <p:cNvPr id="6" name="Rechteck 21"/>
          <p:cNvSpPr/>
          <p:nvPr userDrawn="1"/>
        </p:nvSpPr>
        <p:spPr bwMode="gray">
          <a:xfrm>
            <a:off x="0" y="0"/>
            <a:ext cx="9144982" cy="821830"/>
          </a:xfrm>
          <a:custGeom>
            <a:avLst/>
            <a:gdLst>
              <a:gd name="connsiteX0" fmla="*/ 0 w 9144000"/>
              <a:gd name="connsiteY0" fmla="*/ 394689 h 1011420"/>
              <a:gd name="connsiteX1" fmla="*/ 2306652 w 9144000"/>
              <a:gd name="connsiteY1" fmla="*/ 629718 h 1011420"/>
              <a:gd name="connsiteX2" fmla="*/ 5178847 w 9144000"/>
              <a:gd name="connsiteY2" fmla="*/ 639246 h 1011420"/>
              <a:gd name="connsiteX3" fmla="*/ 9144000 w 9144000"/>
              <a:gd name="connsiteY3" fmla="*/ 664654 h 1011420"/>
              <a:gd name="connsiteX4" fmla="*/ 9144000 w 9144000"/>
              <a:gd name="connsiteY4" fmla="*/ 1011420 h 1011420"/>
              <a:gd name="connsiteX5" fmla="*/ 0 w 9144000"/>
              <a:gd name="connsiteY5" fmla="*/ 1011420 h 1011420"/>
              <a:gd name="connsiteX6" fmla="*/ 0 w 9144000"/>
              <a:gd name="connsiteY6" fmla="*/ 394689 h 1011420"/>
              <a:gd name="connsiteX7" fmla="*/ 0 w 9144000"/>
              <a:gd name="connsiteY7" fmla="*/ 0 h 1011420"/>
              <a:gd name="connsiteX8" fmla="*/ 9144000 w 9144000"/>
              <a:gd name="connsiteY8" fmla="*/ 0 h 1011420"/>
              <a:gd name="connsiteX9" fmla="*/ 9144000 w 9144000"/>
              <a:gd name="connsiteY9" fmla="*/ 416922 h 1011420"/>
              <a:gd name="connsiteX10" fmla="*/ 6141540 w 9144000"/>
              <a:gd name="connsiteY10" fmla="*/ 686887 h 1011420"/>
              <a:gd name="connsiteX11" fmla="*/ 3812648 w 9144000"/>
              <a:gd name="connsiteY11" fmla="*/ 286703 h 1011420"/>
              <a:gd name="connsiteX12" fmla="*/ 1375730 w 9144000"/>
              <a:gd name="connsiteY12" fmla="*/ 642422 h 1011420"/>
              <a:gd name="connsiteX13" fmla="*/ 0 w 9144000"/>
              <a:gd name="connsiteY13" fmla="*/ 394689 h 1011420"/>
              <a:gd name="connsiteX14" fmla="*/ 0 w 9144000"/>
              <a:gd name="connsiteY14" fmla="*/ 0 h 1011420"/>
              <a:gd name="connsiteX0" fmla="*/ 0 w 9144000"/>
              <a:gd name="connsiteY0" fmla="*/ 394689 h 1011420"/>
              <a:gd name="connsiteX1" fmla="*/ 2306652 w 9144000"/>
              <a:gd name="connsiteY1" fmla="*/ 629718 h 1011420"/>
              <a:gd name="connsiteX2" fmla="*/ 5178847 w 9144000"/>
              <a:gd name="connsiteY2" fmla="*/ 639246 h 1011420"/>
              <a:gd name="connsiteX3" fmla="*/ 9144000 w 9144000"/>
              <a:gd name="connsiteY3" fmla="*/ 664654 h 1011420"/>
              <a:gd name="connsiteX4" fmla="*/ 9144000 w 9144000"/>
              <a:gd name="connsiteY4" fmla="*/ 1011420 h 1011420"/>
              <a:gd name="connsiteX5" fmla="*/ 0 w 9144000"/>
              <a:gd name="connsiteY5" fmla="*/ 394689 h 1011420"/>
              <a:gd name="connsiteX6" fmla="*/ 0 w 9144000"/>
              <a:gd name="connsiteY6" fmla="*/ 0 h 1011420"/>
              <a:gd name="connsiteX7" fmla="*/ 9144000 w 9144000"/>
              <a:gd name="connsiteY7" fmla="*/ 0 h 1011420"/>
              <a:gd name="connsiteX8" fmla="*/ 9144000 w 9144000"/>
              <a:gd name="connsiteY8" fmla="*/ 416922 h 1011420"/>
              <a:gd name="connsiteX9" fmla="*/ 6141540 w 9144000"/>
              <a:gd name="connsiteY9" fmla="*/ 686887 h 1011420"/>
              <a:gd name="connsiteX10" fmla="*/ 3812648 w 9144000"/>
              <a:gd name="connsiteY10" fmla="*/ 286703 h 1011420"/>
              <a:gd name="connsiteX11" fmla="*/ 1375730 w 9144000"/>
              <a:gd name="connsiteY11" fmla="*/ 642422 h 1011420"/>
              <a:gd name="connsiteX12" fmla="*/ 0 w 9144000"/>
              <a:gd name="connsiteY12" fmla="*/ 394689 h 1011420"/>
              <a:gd name="connsiteX13" fmla="*/ 0 w 9144000"/>
              <a:gd name="connsiteY13" fmla="*/ 0 h 1011420"/>
              <a:gd name="connsiteX0" fmla="*/ 0 w 9144000"/>
              <a:gd name="connsiteY0" fmla="*/ 394689 h 950210"/>
              <a:gd name="connsiteX1" fmla="*/ 2306652 w 9144000"/>
              <a:gd name="connsiteY1" fmla="*/ 629718 h 950210"/>
              <a:gd name="connsiteX2" fmla="*/ 5178847 w 9144000"/>
              <a:gd name="connsiteY2" fmla="*/ 639246 h 950210"/>
              <a:gd name="connsiteX3" fmla="*/ 9144000 w 9144000"/>
              <a:gd name="connsiteY3" fmla="*/ 664654 h 950210"/>
              <a:gd name="connsiteX4" fmla="*/ 0 w 9144000"/>
              <a:gd name="connsiteY4" fmla="*/ 394689 h 950210"/>
              <a:gd name="connsiteX5" fmla="*/ 0 w 9144000"/>
              <a:gd name="connsiteY5" fmla="*/ 0 h 950210"/>
              <a:gd name="connsiteX6" fmla="*/ 9144000 w 9144000"/>
              <a:gd name="connsiteY6" fmla="*/ 0 h 950210"/>
              <a:gd name="connsiteX7" fmla="*/ 9144000 w 9144000"/>
              <a:gd name="connsiteY7" fmla="*/ 416922 h 950210"/>
              <a:gd name="connsiteX8" fmla="*/ 6141540 w 9144000"/>
              <a:gd name="connsiteY8" fmla="*/ 686887 h 950210"/>
              <a:gd name="connsiteX9" fmla="*/ 3812648 w 9144000"/>
              <a:gd name="connsiteY9" fmla="*/ 286703 h 950210"/>
              <a:gd name="connsiteX10" fmla="*/ 1375730 w 9144000"/>
              <a:gd name="connsiteY10" fmla="*/ 642422 h 950210"/>
              <a:gd name="connsiteX11" fmla="*/ 0 w 9144000"/>
              <a:gd name="connsiteY11" fmla="*/ 394689 h 950210"/>
              <a:gd name="connsiteX12" fmla="*/ 0 w 9144000"/>
              <a:gd name="connsiteY12" fmla="*/ 0 h 950210"/>
              <a:gd name="connsiteX0" fmla="*/ 0 w 9144000"/>
              <a:gd name="connsiteY0" fmla="*/ 394689 h 766858"/>
              <a:gd name="connsiteX1" fmla="*/ 2306652 w 9144000"/>
              <a:gd name="connsiteY1" fmla="*/ 629718 h 766858"/>
              <a:gd name="connsiteX2" fmla="*/ 5178847 w 9144000"/>
              <a:gd name="connsiteY2" fmla="*/ 639246 h 766858"/>
              <a:gd name="connsiteX3" fmla="*/ 0 w 9144000"/>
              <a:gd name="connsiteY3" fmla="*/ 394689 h 766858"/>
              <a:gd name="connsiteX4" fmla="*/ 0 w 9144000"/>
              <a:gd name="connsiteY4" fmla="*/ 0 h 766858"/>
              <a:gd name="connsiteX5" fmla="*/ 9144000 w 9144000"/>
              <a:gd name="connsiteY5" fmla="*/ 0 h 766858"/>
              <a:gd name="connsiteX6" fmla="*/ 9144000 w 9144000"/>
              <a:gd name="connsiteY6" fmla="*/ 416922 h 766858"/>
              <a:gd name="connsiteX7" fmla="*/ 6141540 w 9144000"/>
              <a:gd name="connsiteY7" fmla="*/ 686887 h 766858"/>
              <a:gd name="connsiteX8" fmla="*/ 3812648 w 9144000"/>
              <a:gd name="connsiteY8" fmla="*/ 286703 h 766858"/>
              <a:gd name="connsiteX9" fmla="*/ 1375730 w 9144000"/>
              <a:gd name="connsiteY9" fmla="*/ 642422 h 766858"/>
              <a:gd name="connsiteX10" fmla="*/ 0 w 9144000"/>
              <a:gd name="connsiteY10" fmla="*/ 394689 h 766858"/>
              <a:gd name="connsiteX11" fmla="*/ 0 w 9144000"/>
              <a:gd name="connsiteY11" fmla="*/ 0 h 766858"/>
              <a:gd name="connsiteX0" fmla="*/ 0 w 9144000"/>
              <a:gd name="connsiteY0" fmla="*/ 0 h 766858"/>
              <a:gd name="connsiteX1" fmla="*/ 9144000 w 9144000"/>
              <a:gd name="connsiteY1" fmla="*/ 0 h 766858"/>
              <a:gd name="connsiteX2" fmla="*/ 9144000 w 9144000"/>
              <a:gd name="connsiteY2" fmla="*/ 416922 h 766858"/>
              <a:gd name="connsiteX3" fmla="*/ 6141540 w 9144000"/>
              <a:gd name="connsiteY3" fmla="*/ 686887 h 766858"/>
              <a:gd name="connsiteX4" fmla="*/ 3812648 w 9144000"/>
              <a:gd name="connsiteY4" fmla="*/ 286703 h 766858"/>
              <a:gd name="connsiteX5" fmla="*/ 1375730 w 9144000"/>
              <a:gd name="connsiteY5" fmla="*/ 642422 h 766858"/>
              <a:gd name="connsiteX6" fmla="*/ 0 w 9144000"/>
              <a:gd name="connsiteY6" fmla="*/ 394689 h 766858"/>
              <a:gd name="connsiteX7" fmla="*/ 0 w 9144000"/>
              <a:gd name="connsiteY7" fmla="*/ 0 h 766858"/>
              <a:gd name="connsiteX8" fmla="*/ 2398092 w 9144000"/>
              <a:gd name="connsiteY8" fmla="*/ 721158 h 766858"/>
              <a:gd name="connsiteX0" fmla="*/ 0 w 9144000"/>
              <a:gd name="connsiteY0" fmla="*/ 0 h 766858"/>
              <a:gd name="connsiteX1" fmla="*/ 9144000 w 9144000"/>
              <a:gd name="connsiteY1" fmla="*/ 0 h 766858"/>
              <a:gd name="connsiteX2" fmla="*/ 9144000 w 9144000"/>
              <a:gd name="connsiteY2" fmla="*/ 416922 h 766858"/>
              <a:gd name="connsiteX3" fmla="*/ 6141540 w 9144000"/>
              <a:gd name="connsiteY3" fmla="*/ 686887 h 766858"/>
              <a:gd name="connsiteX4" fmla="*/ 3812648 w 9144000"/>
              <a:gd name="connsiteY4" fmla="*/ 286703 h 766858"/>
              <a:gd name="connsiteX5" fmla="*/ 1375730 w 9144000"/>
              <a:gd name="connsiteY5" fmla="*/ 642422 h 766858"/>
              <a:gd name="connsiteX6" fmla="*/ 0 w 9144000"/>
              <a:gd name="connsiteY6" fmla="*/ 394689 h 766858"/>
              <a:gd name="connsiteX7" fmla="*/ 0 w 9144000"/>
              <a:gd name="connsiteY7" fmla="*/ 0 h 766858"/>
              <a:gd name="connsiteX0" fmla="*/ 0 w 9144000"/>
              <a:gd name="connsiteY0" fmla="*/ 0 h 692144"/>
              <a:gd name="connsiteX1" fmla="*/ 9144000 w 9144000"/>
              <a:gd name="connsiteY1" fmla="*/ 0 h 692144"/>
              <a:gd name="connsiteX2" fmla="*/ 9144000 w 9144000"/>
              <a:gd name="connsiteY2" fmla="*/ 500742 h 692144"/>
              <a:gd name="connsiteX3" fmla="*/ 6141540 w 9144000"/>
              <a:gd name="connsiteY3" fmla="*/ 686887 h 692144"/>
              <a:gd name="connsiteX4" fmla="*/ 3812648 w 9144000"/>
              <a:gd name="connsiteY4" fmla="*/ 286703 h 692144"/>
              <a:gd name="connsiteX5" fmla="*/ 1375730 w 9144000"/>
              <a:gd name="connsiteY5" fmla="*/ 642422 h 692144"/>
              <a:gd name="connsiteX6" fmla="*/ 0 w 9144000"/>
              <a:gd name="connsiteY6" fmla="*/ 394689 h 692144"/>
              <a:gd name="connsiteX7" fmla="*/ 0 w 9144000"/>
              <a:gd name="connsiteY7" fmla="*/ 0 h 692144"/>
              <a:gd name="connsiteX0" fmla="*/ 0 w 9144000"/>
              <a:gd name="connsiteY0" fmla="*/ 0 h 804424"/>
              <a:gd name="connsiteX1" fmla="*/ 9144000 w 9144000"/>
              <a:gd name="connsiteY1" fmla="*/ 0 h 804424"/>
              <a:gd name="connsiteX2" fmla="*/ 9144000 w 9144000"/>
              <a:gd name="connsiteY2" fmla="*/ 500742 h 804424"/>
              <a:gd name="connsiteX3" fmla="*/ 6895920 w 9144000"/>
              <a:gd name="connsiteY3" fmla="*/ 801187 h 804424"/>
              <a:gd name="connsiteX4" fmla="*/ 3812648 w 9144000"/>
              <a:gd name="connsiteY4" fmla="*/ 286703 h 804424"/>
              <a:gd name="connsiteX5" fmla="*/ 1375730 w 9144000"/>
              <a:gd name="connsiteY5" fmla="*/ 642422 h 804424"/>
              <a:gd name="connsiteX6" fmla="*/ 0 w 9144000"/>
              <a:gd name="connsiteY6" fmla="*/ 394689 h 804424"/>
              <a:gd name="connsiteX7" fmla="*/ 0 w 9144000"/>
              <a:gd name="connsiteY7" fmla="*/ 0 h 804424"/>
              <a:gd name="connsiteX0" fmla="*/ 0 w 9144000"/>
              <a:gd name="connsiteY0" fmla="*/ 0 h 802352"/>
              <a:gd name="connsiteX1" fmla="*/ 9144000 w 9144000"/>
              <a:gd name="connsiteY1" fmla="*/ 0 h 802352"/>
              <a:gd name="connsiteX2" fmla="*/ 9144000 w 9144000"/>
              <a:gd name="connsiteY2" fmla="*/ 500742 h 802352"/>
              <a:gd name="connsiteX3" fmla="*/ 6895920 w 9144000"/>
              <a:gd name="connsiteY3" fmla="*/ 801187 h 802352"/>
              <a:gd name="connsiteX4" fmla="*/ 3812648 w 9144000"/>
              <a:gd name="connsiteY4" fmla="*/ 286703 h 802352"/>
              <a:gd name="connsiteX5" fmla="*/ 1375730 w 9144000"/>
              <a:gd name="connsiteY5" fmla="*/ 642422 h 802352"/>
              <a:gd name="connsiteX6" fmla="*/ 0 w 9144000"/>
              <a:gd name="connsiteY6" fmla="*/ 394689 h 802352"/>
              <a:gd name="connsiteX7" fmla="*/ 0 w 9144000"/>
              <a:gd name="connsiteY7" fmla="*/ 0 h 80235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75730 w 9144000"/>
              <a:gd name="connsiteY5" fmla="*/ 642422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86840 w 9144000"/>
              <a:gd name="connsiteY5" fmla="*/ 553974 h 805292"/>
              <a:gd name="connsiteX6" fmla="*/ 1375730 w 9144000"/>
              <a:gd name="connsiteY6" fmla="*/ 642422 h 805292"/>
              <a:gd name="connsiteX7" fmla="*/ 0 w 9144000"/>
              <a:gd name="connsiteY7" fmla="*/ 394689 h 805292"/>
              <a:gd name="connsiteX8" fmla="*/ 0 w 9144000"/>
              <a:gd name="connsiteY8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86840 w 9144000"/>
              <a:gd name="connsiteY5" fmla="*/ 55397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432560 w 9144000"/>
              <a:gd name="connsiteY5" fmla="*/ 57683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432560 w 9144000"/>
              <a:gd name="connsiteY5" fmla="*/ 57683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992"/>
              <a:gd name="connsiteX1" fmla="*/ 9144000 w 9144000"/>
              <a:gd name="connsiteY1" fmla="*/ 0 h 805992"/>
              <a:gd name="connsiteX2" fmla="*/ 9144000 w 9144000"/>
              <a:gd name="connsiteY2" fmla="*/ 500742 h 805992"/>
              <a:gd name="connsiteX3" fmla="*/ 6895920 w 9144000"/>
              <a:gd name="connsiteY3" fmla="*/ 801187 h 805992"/>
              <a:gd name="connsiteX4" fmla="*/ 3865988 w 9144000"/>
              <a:gd name="connsiteY4" fmla="*/ 233363 h 805992"/>
              <a:gd name="connsiteX5" fmla="*/ 1432560 w 9144000"/>
              <a:gd name="connsiteY5" fmla="*/ 576834 h 805992"/>
              <a:gd name="connsiteX6" fmla="*/ 0 w 9144000"/>
              <a:gd name="connsiteY6" fmla="*/ 394689 h 805992"/>
              <a:gd name="connsiteX7" fmla="*/ 0 w 9144000"/>
              <a:gd name="connsiteY7" fmla="*/ 0 h 805992"/>
              <a:gd name="connsiteX0" fmla="*/ 0 w 9144000"/>
              <a:gd name="connsiteY0" fmla="*/ 0 h 805992"/>
              <a:gd name="connsiteX1" fmla="*/ 9144000 w 9144000"/>
              <a:gd name="connsiteY1" fmla="*/ 0 h 805992"/>
              <a:gd name="connsiteX2" fmla="*/ 9144000 w 9144000"/>
              <a:gd name="connsiteY2" fmla="*/ 500742 h 805992"/>
              <a:gd name="connsiteX3" fmla="*/ 6895920 w 9144000"/>
              <a:gd name="connsiteY3" fmla="*/ 801187 h 805992"/>
              <a:gd name="connsiteX4" fmla="*/ 3865988 w 9144000"/>
              <a:gd name="connsiteY4" fmla="*/ 233363 h 805992"/>
              <a:gd name="connsiteX5" fmla="*/ 1432560 w 9144000"/>
              <a:gd name="connsiteY5" fmla="*/ 576834 h 805992"/>
              <a:gd name="connsiteX6" fmla="*/ 0 w 9144000"/>
              <a:gd name="connsiteY6" fmla="*/ 394689 h 805992"/>
              <a:gd name="connsiteX7" fmla="*/ 0 w 9144000"/>
              <a:gd name="connsiteY7" fmla="*/ 0 h 805992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390650 w 9144000"/>
              <a:gd name="connsiteY5" fmla="*/ 627634 h 810959"/>
              <a:gd name="connsiteX6" fmla="*/ 1432560 w 9144000"/>
              <a:gd name="connsiteY6" fmla="*/ 57683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390650 w 9144000"/>
              <a:gd name="connsiteY5" fmla="*/ 62763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25600 w 9144000"/>
              <a:gd name="connsiteY5" fmla="*/ 6212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48046 w 9192046"/>
              <a:gd name="connsiteY0" fmla="*/ 0 h 810959"/>
              <a:gd name="connsiteX1" fmla="*/ 9192046 w 9192046"/>
              <a:gd name="connsiteY1" fmla="*/ 0 h 810959"/>
              <a:gd name="connsiteX2" fmla="*/ 9192046 w 9192046"/>
              <a:gd name="connsiteY2" fmla="*/ 500742 h 810959"/>
              <a:gd name="connsiteX3" fmla="*/ 6943966 w 9192046"/>
              <a:gd name="connsiteY3" fmla="*/ 801187 h 810959"/>
              <a:gd name="connsiteX4" fmla="*/ 3914034 w 9192046"/>
              <a:gd name="connsiteY4" fmla="*/ 233363 h 810959"/>
              <a:gd name="connsiteX5" fmla="*/ 1673646 w 9192046"/>
              <a:gd name="connsiteY5" fmla="*/ 621284 h 810959"/>
              <a:gd name="connsiteX6" fmla="*/ 915456 w 9192046"/>
              <a:gd name="connsiteY6" fmla="*/ 633984 h 810959"/>
              <a:gd name="connsiteX7" fmla="*/ 54396 w 9192046"/>
              <a:gd name="connsiteY7" fmla="*/ 456184 h 810959"/>
              <a:gd name="connsiteX8" fmla="*/ 79796 w 9192046"/>
              <a:gd name="connsiteY8" fmla="*/ 458189 h 810959"/>
              <a:gd name="connsiteX9" fmla="*/ 48046 w 9192046"/>
              <a:gd name="connsiteY9" fmla="*/ 0 h 810959"/>
              <a:gd name="connsiteX0" fmla="*/ 59284 w 9203284"/>
              <a:gd name="connsiteY0" fmla="*/ 0 h 810959"/>
              <a:gd name="connsiteX1" fmla="*/ 9203284 w 9203284"/>
              <a:gd name="connsiteY1" fmla="*/ 0 h 810959"/>
              <a:gd name="connsiteX2" fmla="*/ 9203284 w 9203284"/>
              <a:gd name="connsiteY2" fmla="*/ 500742 h 810959"/>
              <a:gd name="connsiteX3" fmla="*/ 6955204 w 9203284"/>
              <a:gd name="connsiteY3" fmla="*/ 801187 h 810959"/>
              <a:gd name="connsiteX4" fmla="*/ 3925272 w 9203284"/>
              <a:gd name="connsiteY4" fmla="*/ 233363 h 810959"/>
              <a:gd name="connsiteX5" fmla="*/ 1684884 w 9203284"/>
              <a:gd name="connsiteY5" fmla="*/ 621284 h 810959"/>
              <a:gd name="connsiteX6" fmla="*/ 926694 w 9203284"/>
              <a:gd name="connsiteY6" fmla="*/ 633984 h 810959"/>
              <a:gd name="connsiteX7" fmla="*/ 65634 w 9203284"/>
              <a:gd name="connsiteY7" fmla="*/ 456184 h 810959"/>
              <a:gd name="connsiteX8" fmla="*/ 59284 w 9203284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25600 w 9144000"/>
              <a:gd name="connsiteY5" fmla="*/ 621284 h 810959"/>
              <a:gd name="connsiteX6" fmla="*/ 867410 w 9144000"/>
              <a:gd name="connsiteY6" fmla="*/ 633984 h 810959"/>
              <a:gd name="connsiteX7" fmla="*/ 6350 w 9144000"/>
              <a:gd name="connsiteY7" fmla="*/ 456184 h 810959"/>
              <a:gd name="connsiteX8" fmla="*/ 0 w 9144000"/>
              <a:gd name="connsiteY8" fmla="*/ 0 h 810959"/>
              <a:gd name="connsiteX0" fmla="*/ 19050 w 9163050"/>
              <a:gd name="connsiteY0" fmla="*/ 0 h 810959"/>
              <a:gd name="connsiteX1" fmla="*/ 9163050 w 9163050"/>
              <a:gd name="connsiteY1" fmla="*/ 0 h 810959"/>
              <a:gd name="connsiteX2" fmla="*/ 9163050 w 9163050"/>
              <a:gd name="connsiteY2" fmla="*/ 500742 h 810959"/>
              <a:gd name="connsiteX3" fmla="*/ 6914970 w 9163050"/>
              <a:gd name="connsiteY3" fmla="*/ 801187 h 810959"/>
              <a:gd name="connsiteX4" fmla="*/ 3885038 w 9163050"/>
              <a:gd name="connsiteY4" fmla="*/ 233363 h 810959"/>
              <a:gd name="connsiteX5" fmla="*/ 1644650 w 9163050"/>
              <a:gd name="connsiteY5" fmla="*/ 621284 h 810959"/>
              <a:gd name="connsiteX6" fmla="*/ 886460 w 9163050"/>
              <a:gd name="connsiteY6" fmla="*/ 633984 h 810959"/>
              <a:gd name="connsiteX7" fmla="*/ 0 w 9163050"/>
              <a:gd name="connsiteY7" fmla="*/ 449834 h 810959"/>
              <a:gd name="connsiteX8" fmla="*/ 19050 w 91630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31950 w 9150350"/>
              <a:gd name="connsiteY5" fmla="*/ 621284 h 810959"/>
              <a:gd name="connsiteX6" fmla="*/ 873760 w 9150350"/>
              <a:gd name="connsiteY6" fmla="*/ 6339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31950 w 9150350"/>
              <a:gd name="connsiteY5" fmla="*/ 6212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19250 w 9150350"/>
              <a:gd name="connsiteY5" fmla="*/ 5831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19250 w 9150350"/>
              <a:gd name="connsiteY5" fmla="*/ 5831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19250 w 9150350"/>
              <a:gd name="connsiteY5" fmla="*/ 583184 h 802448"/>
              <a:gd name="connsiteX6" fmla="*/ 867410 w 9150350"/>
              <a:gd name="connsiteY6" fmla="*/ 583184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50246 w 9150350"/>
              <a:gd name="connsiteY5" fmla="*/ 699421 h 802448"/>
              <a:gd name="connsiteX6" fmla="*/ 867410 w 9150350"/>
              <a:gd name="connsiteY6" fmla="*/ 583184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50246 w 9150350"/>
              <a:gd name="connsiteY5" fmla="*/ 699421 h 802448"/>
              <a:gd name="connsiteX6" fmla="*/ 859660 w 9150350"/>
              <a:gd name="connsiteY6" fmla="*/ 699422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16313"/>
              <a:gd name="connsiteX1" fmla="*/ 9144000 w 9144000"/>
              <a:gd name="connsiteY1" fmla="*/ 0 h 816313"/>
              <a:gd name="connsiteX2" fmla="*/ 9144000 w 9144000"/>
              <a:gd name="connsiteY2" fmla="*/ 500742 h 816313"/>
              <a:gd name="connsiteX3" fmla="*/ 6895920 w 9144000"/>
              <a:gd name="connsiteY3" fmla="*/ 801187 h 816313"/>
              <a:gd name="connsiteX4" fmla="*/ 3935730 w 9144000"/>
              <a:gd name="connsiteY4" fmla="*/ 372848 h 816313"/>
              <a:gd name="connsiteX5" fmla="*/ 1643896 w 9144000"/>
              <a:gd name="connsiteY5" fmla="*/ 699421 h 816313"/>
              <a:gd name="connsiteX6" fmla="*/ 853310 w 9144000"/>
              <a:gd name="connsiteY6" fmla="*/ 699422 h 816313"/>
              <a:gd name="connsiteX7" fmla="*/ 1399 w 9144000"/>
              <a:gd name="connsiteY7" fmla="*/ 508921 h 816313"/>
              <a:gd name="connsiteX8" fmla="*/ 0 w 9144000"/>
              <a:gd name="connsiteY8" fmla="*/ 0 h 816313"/>
              <a:gd name="connsiteX0" fmla="*/ 0 w 9144000"/>
              <a:gd name="connsiteY0" fmla="*/ 0 h 821830"/>
              <a:gd name="connsiteX1" fmla="*/ 9144000 w 9144000"/>
              <a:gd name="connsiteY1" fmla="*/ 0 h 821830"/>
              <a:gd name="connsiteX2" fmla="*/ 9144000 w 9144000"/>
              <a:gd name="connsiteY2" fmla="*/ 500742 h 821830"/>
              <a:gd name="connsiteX3" fmla="*/ 6895920 w 9144000"/>
              <a:gd name="connsiteY3" fmla="*/ 801187 h 821830"/>
              <a:gd name="connsiteX4" fmla="*/ 3935730 w 9144000"/>
              <a:gd name="connsiteY4" fmla="*/ 372848 h 821830"/>
              <a:gd name="connsiteX5" fmla="*/ 1643896 w 9144000"/>
              <a:gd name="connsiteY5" fmla="*/ 699421 h 821830"/>
              <a:gd name="connsiteX6" fmla="*/ 853310 w 9144000"/>
              <a:gd name="connsiteY6" fmla="*/ 699422 h 821830"/>
              <a:gd name="connsiteX7" fmla="*/ 1399 w 9144000"/>
              <a:gd name="connsiteY7" fmla="*/ 508921 h 821830"/>
              <a:gd name="connsiteX8" fmla="*/ 0 w 9144000"/>
              <a:gd name="connsiteY8" fmla="*/ 0 h 821830"/>
              <a:gd name="connsiteX0" fmla="*/ 5745 w 9149745"/>
              <a:gd name="connsiteY0" fmla="*/ 0 h 821830"/>
              <a:gd name="connsiteX1" fmla="*/ 9149745 w 9149745"/>
              <a:gd name="connsiteY1" fmla="*/ 0 h 821830"/>
              <a:gd name="connsiteX2" fmla="*/ 9149745 w 9149745"/>
              <a:gd name="connsiteY2" fmla="*/ 500742 h 821830"/>
              <a:gd name="connsiteX3" fmla="*/ 6901665 w 9149745"/>
              <a:gd name="connsiteY3" fmla="*/ 801187 h 821830"/>
              <a:gd name="connsiteX4" fmla="*/ 3941475 w 9149745"/>
              <a:gd name="connsiteY4" fmla="*/ 372848 h 821830"/>
              <a:gd name="connsiteX5" fmla="*/ 1649641 w 9149745"/>
              <a:gd name="connsiteY5" fmla="*/ 699421 h 821830"/>
              <a:gd name="connsiteX6" fmla="*/ 859055 w 9149745"/>
              <a:gd name="connsiteY6" fmla="*/ 699422 h 821830"/>
              <a:gd name="connsiteX7" fmla="*/ 0 w 9149745"/>
              <a:gd name="connsiteY7" fmla="*/ 516065 h 821830"/>
              <a:gd name="connsiteX8" fmla="*/ 5745 w 9149745"/>
              <a:gd name="connsiteY8" fmla="*/ 0 h 821830"/>
              <a:gd name="connsiteX0" fmla="*/ 5745 w 9149745"/>
              <a:gd name="connsiteY0" fmla="*/ 0 h 821830"/>
              <a:gd name="connsiteX1" fmla="*/ 9149745 w 9149745"/>
              <a:gd name="connsiteY1" fmla="*/ 0 h 821830"/>
              <a:gd name="connsiteX2" fmla="*/ 9149745 w 9149745"/>
              <a:gd name="connsiteY2" fmla="*/ 500742 h 821830"/>
              <a:gd name="connsiteX3" fmla="*/ 6901665 w 9149745"/>
              <a:gd name="connsiteY3" fmla="*/ 801187 h 821830"/>
              <a:gd name="connsiteX4" fmla="*/ 3941475 w 9149745"/>
              <a:gd name="connsiteY4" fmla="*/ 372848 h 821830"/>
              <a:gd name="connsiteX5" fmla="*/ 1649641 w 9149745"/>
              <a:gd name="connsiteY5" fmla="*/ 699421 h 821830"/>
              <a:gd name="connsiteX6" fmla="*/ 859055 w 9149745"/>
              <a:gd name="connsiteY6" fmla="*/ 699422 h 821830"/>
              <a:gd name="connsiteX7" fmla="*/ 0 w 9149745"/>
              <a:gd name="connsiteY7" fmla="*/ 516065 h 821830"/>
              <a:gd name="connsiteX8" fmla="*/ 5745 w 9149745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16065 h 821830"/>
              <a:gd name="connsiteX8" fmla="*/ 3364 w 9147364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27971 h 821830"/>
              <a:gd name="connsiteX8" fmla="*/ 3364 w 9147364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27971 h 821830"/>
              <a:gd name="connsiteX8" fmla="*/ 3364 w 9147364"/>
              <a:gd name="connsiteY8" fmla="*/ 0 h 821830"/>
              <a:gd name="connsiteX0" fmla="*/ 0 w 9144000"/>
              <a:gd name="connsiteY0" fmla="*/ 0 h 821830"/>
              <a:gd name="connsiteX1" fmla="*/ 9144000 w 9144000"/>
              <a:gd name="connsiteY1" fmla="*/ 0 h 821830"/>
              <a:gd name="connsiteX2" fmla="*/ 9144000 w 9144000"/>
              <a:gd name="connsiteY2" fmla="*/ 500742 h 821830"/>
              <a:gd name="connsiteX3" fmla="*/ 6895920 w 9144000"/>
              <a:gd name="connsiteY3" fmla="*/ 801187 h 821830"/>
              <a:gd name="connsiteX4" fmla="*/ 3935730 w 9144000"/>
              <a:gd name="connsiteY4" fmla="*/ 372848 h 821830"/>
              <a:gd name="connsiteX5" fmla="*/ 1643896 w 9144000"/>
              <a:gd name="connsiteY5" fmla="*/ 699421 h 821830"/>
              <a:gd name="connsiteX6" fmla="*/ 853310 w 9144000"/>
              <a:gd name="connsiteY6" fmla="*/ 699422 h 821830"/>
              <a:gd name="connsiteX7" fmla="*/ 44262 w 9144000"/>
              <a:gd name="connsiteY7" fmla="*/ 508921 h 821830"/>
              <a:gd name="connsiteX8" fmla="*/ 0 w 9144000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982" h="821830">
                <a:close/>
                <a:moveTo>
                  <a:pt x="982" y="0"/>
                </a:moveTo>
                <a:lnTo>
                  <a:pt x="9144982" y="0"/>
                </a:lnTo>
                <a:lnTo>
                  <a:pt x="9144982" y="500742"/>
                </a:lnTo>
                <a:cubicBezTo>
                  <a:pt x="8989299" y="567439"/>
                  <a:pt x="8212622" y="908228"/>
                  <a:pt x="6896902" y="801187"/>
                </a:cubicBezTo>
                <a:cubicBezTo>
                  <a:pt x="5581182" y="694146"/>
                  <a:pt x="4812049" y="389809"/>
                  <a:pt x="3936712" y="372848"/>
                </a:cubicBezTo>
                <a:cubicBezTo>
                  <a:pt x="3061375" y="355887"/>
                  <a:pt x="2650524" y="615188"/>
                  <a:pt x="1644878" y="699421"/>
                </a:cubicBezTo>
                <a:cubicBezTo>
                  <a:pt x="1300425" y="734441"/>
                  <a:pt x="1145069" y="712052"/>
                  <a:pt x="854292" y="699422"/>
                </a:cubicBezTo>
                <a:cubicBezTo>
                  <a:pt x="591825" y="672964"/>
                  <a:pt x="142187" y="600298"/>
                  <a:pt x="0" y="532734"/>
                </a:cubicBezTo>
                <a:cubicBezTo>
                  <a:pt x="688" y="518351"/>
                  <a:pt x="2305" y="95038"/>
                  <a:pt x="982" y="0"/>
                </a:cubicBezTo>
              </a:path>
            </a:pathLst>
          </a:custGeom>
          <a:gradFill flip="none" rotWithShape="1">
            <a:gsLst>
              <a:gs pos="0">
                <a:srgbClr val="DBDBDB"/>
              </a:gs>
              <a:gs pos="78000">
                <a:srgbClr val="FFFFFF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7" name="Bild 8" descr="Logo-mit-Claim_Innenseit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242810" y="221897"/>
            <a:ext cx="121285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Freeform 12"/>
          <p:cNvSpPr>
            <a:spLocks/>
          </p:cNvSpPr>
          <p:nvPr userDrawn="1"/>
        </p:nvSpPr>
        <p:spPr bwMode="gray">
          <a:xfrm>
            <a:off x="-6350" y="255769"/>
            <a:ext cx="9154800" cy="712875"/>
          </a:xfrm>
          <a:custGeom>
            <a:avLst/>
            <a:gdLst>
              <a:gd name="T0" fmla="*/ 2880 w 2880"/>
              <a:gd name="T1" fmla="*/ 67 h 224"/>
              <a:gd name="T2" fmla="*/ 1955 w 2880"/>
              <a:gd name="T3" fmla="*/ 130 h 224"/>
              <a:gd name="T4" fmla="*/ 1212 w 2880"/>
              <a:gd name="T5" fmla="*/ 24 h 224"/>
              <a:gd name="T6" fmla="*/ 433 w 2880"/>
              <a:gd name="T7" fmla="*/ 137 h 224"/>
              <a:gd name="T8" fmla="*/ 0 w 2880"/>
              <a:gd name="T9" fmla="*/ 67 h 224"/>
              <a:gd name="T10" fmla="*/ 1 w 2880"/>
              <a:gd name="T11" fmla="*/ 96 h 224"/>
              <a:gd name="T12" fmla="*/ 753 w 2880"/>
              <a:gd name="T13" fmla="*/ 108 h 224"/>
              <a:gd name="T14" fmla="*/ 1561 w 2880"/>
              <a:gd name="T15" fmla="*/ 80 h 224"/>
              <a:gd name="T16" fmla="*/ 2022 w 2880"/>
              <a:gd name="T17" fmla="*/ 160 h 224"/>
              <a:gd name="T18" fmla="*/ 2880 w 2880"/>
              <a:gd name="T19" fmla="*/ 114 h 224"/>
              <a:gd name="T20" fmla="*/ 2880 w 2880"/>
              <a:gd name="T21" fmla="*/ 67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880" h="224">
                <a:moveTo>
                  <a:pt x="2880" y="67"/>
                </a:moveTo>
                <a:cubicBezTo>
                  <a:pt x="2737" y="127"/>
                  <a:pt x="2450" y="206"/>
                  <a:pt x="1955" y="130"/>
                </a:cubicBezTo>
                <a:cubicBezTo>
                  <a:pt x="1571" y="69"/>
                  <a:pt x="1424" y="24"/>
                  <a:pt x="1212" y="24"/>
                </a:cubicBezTo>
                <a:cubicBezTo>
                  <a:pt x="932" y="24"/>
                  <a:pt x="775" y="136"/>
                  <a:pt x="433" y="137"/>
                </a:cubicBezTo>
                <a:cubicBezTo>
                  <a:pt x="184" y="140"/>
                  <a:pt x="0" y="67"/>
                  <a:pt x="0" y="67"/>
                </a:cubicBezTo>
                <a:cubicBezTo>
                  <a:pt x="1" y="96"/>
                  <a:pt x="1" y="96"/>
                  <a:pt x="1" y="96"/>
                </a:cubicBezTo>
                <a:cubicBezTo>
                  <a:pt x="1" y="96"/>
                  <a:pt x="346" y="205"/>
                  <a:pt x="753" y="108"/>
                </a:cubicBezTo>
                <a:cubicBezTo>
                  <a:pt x="1208" y="0"/>
                  <a:pt x="1340" y="47"/>
                  <a:pt x="1561" y="80"/>
                </a:cubicBezTo>
                <a:cubicBezTo>
                  <a:pt x="1627" y="90"/>
                  <a:pt x="1869" y="140"/>
                  <a:pt x="2022" y="160"/>
                </a:cubicBezTo>
                <a:cubicBezTo>
                  <a:pt x="2514" y="224"/>
                  <a:pt x="2716" y="161"/>
                  <a:pt x="2880" y="114"/>
                </a:cubicBezTo>
                <a:cubicBezTo>
                  <a:pt x="2880" y="67"/>
                  <a:pt x="2880" y="67"/>
                  <a:pt x="2880" y="67"/>
                </a:cubicBezTo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charset="0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395287" y="6655685"/>
            <a:ext cx="317586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US" sz="900" dirty="0">
                <a:solidFill>
                  <a:srgbClr val="004179"/>
                </a:solidFill>
              </a:rPr>
              <a:t>© 2015 GELITA AG. Any copies need to be authorized by GELITA</a:t>
            </a:r>
          </a:p>
        </p:txBody>
      </p:sp>
    </p:spTree>
    <p:extLst>
      <p:ext uri="{BB962C8B-B14F-4D97-AF65-F5344CB8AC3E}">
        <p14:creationId xmlns:p14="http://schemas.microsoft.com/office/powerpoint/2010/main" val="1559963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99050" marR="0" indent="-266700" algn="l" defTabSz="274638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FF9900"/>
              </a:buClr>
              <a:buSzTx/>
              <a:buFontTx/>
              <a:buChar char="•"/>
              <a:tabLst/>
              <a:defRPr lang="de-DE" sz="14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R="0" indent="-266700" algn="l" defTabSz="274638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FF9900"/>
              </a:buClr>
              <a:buSzTx/>
              <a:buFontTx/>
              <a:buChar char="•"/>
              <a:tabLst/>
              <a:defRPr lang="de-DE" sz="14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R="0" indent="-266700" algn="l" defTabSz="274638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FF9900"/>
              </a:buClr>
              <a:buSzTx/>
              <a:buFontTx/>
              <a:buChar char="•"/>
              <a:tabLst/>
              <a:defRPr lang="de-DE" sz="14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R="0" indent="-266700" algn="l" defTabSz="274638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FF9900"/>
              </a:buClr>
              <a:buSzTx/>
              <a:buFontTx/>
              <a:buChar char="•"/>
              <a:tabLst/>
              <a:defRPr lang="de-DE" sz="14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R="0" indent="-266700" algn="l" defTabSz="274638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FF9900"/>
              </a:buClr>
              <a:buSzTx/>
              <a:buFontTx/>
              <a:buChar char="•"/>
              <a:tabLst/>
              <a:defRPr lang="en-US" sz="14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3E54DE-461E-4652-9A8E-87EC4650D62E}" type="slidenum">
              <a:rPr lang="en-US" smtClean="0">
                <a:solidFill>
                  <a:srgbClr val="004179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4179"/>
              </a:solidFill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88913"/>
            <a:ext cx="7056437" cy="360362"/>
          </a:xfrm>
        </p:spPr>
        <p:txBody>
          <a:bodyPr/>
          <a:lstStyle>
            <a:lvl1pPr>
              <a:defRPr b="1">
                <a:solidFill>
                  <a:srgbClr val="F3970D"/>
                </a:solidFill>
              </a:defRPr>
            </a:lvl1pPr>
          </a:lstStyle>
          <a:p>
            <a:pPr lvl="0"/>
            <a:r>
              <a:rPr lang="de-DE" dirty="0"/>
              <a:t>Chapter – Arial – 14pt - </a:t>
            </a:r>
            <a:r>
              <a:rPr lang="de-DE" dirty="0" err="1"/>
              <a:t>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677161"/>
      </p:ext>
    </p:extLst>
  </p:cSld>
  <p:clrMapOvr>
    <a:masterClrMapping/>
  </p:clrMapOvr>
  <p:transition advClick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>
          <a:xfrm>
            <a:off x="395287" y="6563666"/>
            <a:ext cx="864345" cy="196131"/>
          </a:xfrm>
          <a:prstGeom prst="rect">
            <a:avLst/>
          </a:prstGeom>
        </p:spPr>
        <p:txBody>
          <a:bodyPr/>
          <a:lstStyle/>
          <a:p>
            <a:fld id="{75E22CB4-CE6C-409E-8422-A2992595BA4B}" type="datetime1">
              <a:rPr lang="en-US">
                <a:solidFill>
                  <a:srgbClr val="004179"/>
                </a:solidFill>
              </a:rPr>
              <a:pPr/>
              <a:t>11/2/2017</a:t>
            </a:fld>
            <a:endParaRPr lang="en-US" dirty="0">
              <a:solidFill>
                <a:srgbClr val="004179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>
          <a:xfrm>
            <a:off x="1476375" y="6563666"/>
            <a:ext cx="4831200" cy="196131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3366"/>
                </a:solidFill>
              </a:rPr>
              <a:t>© 2014 GELITA AG. </a:t>
            </a:r>
            <a:endParaRPr lang="en-US" dirty="0">
              <a:solidFill>
                <a:srgbClr val="003366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A338765-0E58-4C4E-AF61-77B29536DC05}" type="slidenum">
              <a:rPr lang="en-US" smtClean="0">
                <a:solidFill>
                  <a:srgbClr val="004179"/>
                </a:solidFill>
              </a:rPr>
              <a:pPr/>
              <a:t>‹#›</a:t>
            </a:fld>
            <a:endParaRPr lang="en-US" dirty="0">
              <a:solidFill>
                <a:srgbClr val="004179"/>
              </a:solidFill>
            </a:endParaRPr>
          </a:p>
        </p:txBody>
      </p:sp>
      <p:sp>
        <p:nvSpPr>
          <p:cNvPr id="10" name="Textplatzhalter 12"/>
          <p:cNvSpPr>
            <a:spLocks noGrp="1"/>
          </p:cNvSpPr>
          <p:nvPr>
            <p:ph type="body" sz="quarter" idx="15"/>
          </p:nvPr>
        </p:nvSpPr>
        <p:spPr bwMode="gray">
          <a:xfrm>
            <a:off x="754063" y="6040191"/>
            <a:ext cx="7635875" cy="203200"/>
          </a:xfrm>
        </p:spPr>
        <p:txBody>
          <a:bodyPr anchor="b"/>
          <a:lstStyle>
            <a:lvl1pPr>
              <a:defRPr sz="900" b="0">
                <a:solidFill>
                  <a:schemeClr val="tx1"/>
                </a:solidFill>
              </a:defRPr>
            </a:lvl1pPr>
            <a:lvl2pPr>
              <a:defRPr sz="900" b="0">
                <a:solidFill>
                  <a:schemeClr val="tx1"/>
                </a:solidFill>
              </a:defRPr>
            </a:lvl2pPr>
            <a:lvl3pPr>
              <a:defRPr sz="900" b="0">
                <a:solidFill>
                  <a:schemeClr val="tx1"/>
                </a:solidFill>
              </a:defRPr>
            </a:lvl3pPr>
            <a:lvl4pPr>
              <a:defRPr sz="900" b="0">
                <a:solidFill>
                  <a:schemeClr val="tx1"/>
                </a:solidFill>
              </a:defRPr>
            </a:lvl4pPr>
            <a:lvl5pPr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625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_CO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>
          <a:xfrm>
            <a:off x="395287" y="6563666"/>
            <a:ext cx="864345" cy="196131"/>
          </a:xfrm>
          <a:prstGeom prst="rect">
            <a:avLst/>
          </a:prstGeom>
        </p:spPr>
        <p:txBody>
          <a:bodyPr/>
          <a:lstStyle/>
          <a:p>
            <a:fld id="{5643747F-1532-4D0A-B4AE-DCB2908E8960}" type="datetime1">
              <a:rPr lang="en-US">
                <a:solidFill>
                  <a:srgbClr val="004179"/>
                </a:solidFill>
              </a:rPr>
              <a:pPr/>
              <a:t>11/2/2017</a:t>
            </a:fld>
            <a:endParaRPr lang="en-US" dirty="0">
              <a:solidFill>
                <a:srgbClr val="004179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>
          <a:xfrm>
            <a:off x="1476375" y="6563666"/>
            <a:ext cx="4832353" cy="196131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3366"/>
                </a:solidFill>
              </a:rPr>
              <a:t>© 2014 GELITA AG. </a:t>
            </a:r>
            <a:endParaRPr lang="en-US" dirty="0">
              <a:solidFill>
                <a:srgbClr val="003366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A338765-0E58-4C4E-AF61-77B29536DC05}" type="slidenum">
              <a:rPr lang="en-US" smtClean="0">
                <a:solidFill>
                  <a:srgbClr val="004179"/>
                </a:solidFill>
              </a:rPr>
              <a:pPr/>
              <a:t>‹#›</a:t>
            </a:fld>
            <a:endParaRPr lang="en-US" dirty="0">
              <a:solidFill>
                <a:srgbClr val="004179"/>
              </a:solidFill>
            </a:endParaRPr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15"/>
          </p:nvPr>
        </p:nvSpPr>
        <p:spPr bwMode="gray">
          <a:xfrm>
            <a:off x="754063" y="6040191"/>
            <a:ext cx="7635875" cy="203200"/>
          </a:xfrm>
        </p:spPr>
        <p:txBody>
          <a:bodyPr anchor="b"/>
          <a:lstStyle>
            <a:lvl1pPr>
              <a:defRPr sz="900" b="0">
                <a:solidFill>
                  <a:schemeClr val="tx1"/>
                </a:solidFill>
              </a:defRPr>
            </a:lvl1pPr>
            <a:lvl2pPr>
              <a:defRPr sz="900" b="0">
                <a:solidFill>
                  <a:schemeClr val="tx1"/>
                </a:solidFill>
              </a:defRPr>
            </a:lvl2pPr>
            <a:lvl3pPr>
              <a:defRPr sz="900" b="0">
                <a:solidFill>
                  <a:schemeClr val="tx1"/>
                </a:solidFill>
              </a:defRPr>
            </a:lvl3pPr>
            <a:lvl4pPr>
              <a:defRPr sz="900" b="0">
                <a:solidFill>
                  <a:schemeClr val="tx1"/>
                </a:solidFill>
              </a:defRPr>
            </a:lvl4pPr>
            <a:lvl5pPr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0117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40000" y="980728"/>
            <a:ext cx="7920000" cy="720000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 dirty="0"/>
              <a:t>DFJBBJLVBDFLBKLFDNKLNBFKNNKK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752F79-9700-4F8D-AC0B-4F2011E4FAAE}" type="slidenum">
              <a:rPr lang="en-US" smtClean="0">
                <a:solidFill>
                  <a:srgbClr val="004179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4179"/>
              </a:solidFill>
            </a:endParaRPr>
          </a:p>
        </p:txBody>
      </p:sp>
      <p:sp>
        <p:nvSpPr>
          <p:cNvPr id="4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270000" y="180000"/>
            <a:ext cx="6840000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400" b="1">
                <a:solidFill>
                  <a:srgbClr val="DE9D00"/>
                </a:solidFill>
              </a:defRPr>
            </a:lvl1pPr>
          </a:lstStyle>
          <a:p>
            <a:r>
              <a:rPr lang="de-DE" dirty="0"/>
              <a:t>Kapitel – Arial – 14pt – Fett – R222/G157/B0</a:t>
            </a:r>
          </a:p>
        </p:txBody>
      </p:sp>
    </p:spTree>
    <p:extLst>
      <p:ext uri="{BB962C8B-B14F-4D97-AF65-F5344CB8AC3E}">
        <p14:creationId xmlns:p14="http://schemas.microsoft.com/office/powerpoint/2010/main" val="3845049956"/>
      </p:ext>
    </p:extLst>
  </p:cSld>
  <p:clrMapOvr>
    <a:masterClrMapping/>
  </p:clrMapOvr>
  <p:transition advClick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A338765-0E58-4C4E-AF61-77B29536DC05}" type="slidenum">
              <a:rPr lang="en-US" smtClean="0">
                <a:solidFill>
                  <a:srgbClr val="004179"/>
                </a:solidFill>
              </a:rPr>
              <a:pPr/>
              <a:t>‹#›</a:t>
            </a:fld>
            <a:endParaRPr lang="en-US" dirty="0">
              <a:solidFill>
                <a:srgbClr val="004179"/>
              </a:solidFill>
            </a:endParaRP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754063" y="2016000"/>
            <a:ext cx="7635875" cy="4024191"/>
          </a:xfrm>
        </p:spPr>
        <p:txBody>
          <a:bodyPr/>
          <a:lstStyle/>
          <a:p>
            <a:pPr lvl="0"/>
            <a:r>
              <a:rPr lang="en-US" dirty="0"/>
              <a:t>Edit Slide Master Forma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 bwMode="gray">
          <a:xfrm>
            <a:off x="754063" y="6040191"/>
            <a:ext cx="7635875" cy="203200"/>
          </a:xfrm>
        </p:spPr>
        <p:txBody>
          <a:bodyPr anchor="b"/>
          <a:lstStyle>
            <a:lvl1pPr>
              <a:defRPr sz="900" b="0">
                <a:solidFill>
                  <a:schemeClr val="tx1"/>
                </a:solidFill>
              </a:defRPr>
            </a:lvl1pPr>
            <a:lvl2pPr>
              <a:defRPr sz="900" b="0">
                <a:solidFill>
                  <a:schemeClr val="tx1"/>
                </a:solidFill>
              </a:defRPr>
            </a:lvl2pPr>
            <a:lvl3pPr>
              <a:defRPr sz="900" b="0">
                <a:solidFill>
                  <a:schemeClr val="tx1"/>
                </a:solidFill>
              </a:defRPr>
            </a:lvl3pPr>
            <a:lvl4pPr>
              <a:defRPr sz="900" b="0">
                <a:solidFill>
                  <a:schemeClr val="tx1"/>
                </a:solidFill>
              </a:defRPr>
            </a:lvl4pPr>
            <a:lvl5pPr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8835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ntent_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00543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A338765-0E58-4C4E-AF61-77B29536DC05}" type="slidenum">
              <a:rPr lang="en-US" smtClean="0">
                <a:solidFill>
                  <a:srgbClr val="004179"/>
                </a:solidFill>
              </a:rPr>
              <a:pPr/>
              <a:t>‹#›</a:t>
            </a:fld>
            <a:endParaRPr lang="en-US" dirty="0">
              <a:solidFill>
                <a:srgbClr val="004179"/>
              </a:solidFill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gray">
          <a:xfrm>
            <a:off x="754063" y="5823522"/>
            <a:ext cx="214758" cy="388928"/>
          </a:xfrm>
          <a:custGeom>
            <a:avLst/>
            <a:gdLst>
              <a:gd name="T0" fmla="*/ 464 w 477"/>
              <a:gd name="T1" fmla="*/ 401 h 864"/>
              <a:gd name="T2" fmla="*/ 80 w 477"/>
              <a:gd name="T3" fmla="*/ 17 h 864"/>
              <a:gd name="T4" fmla="*/ 29 w 477"/>
              <a:gd name="T5" fmla="*/ 7 h 864"/>
              <a:gd name="T6" fmla="*/ 0 w 477"/>
              <a:gd name="T7" fmla="*/ 51 h 864"/>
              <a:gd name="T8" fmla="*/ 201 w 477"/>
              <a:gd name="T9" fmla="*/ 434 h 864"/>
              <a:gd name="T10" fmla="*/ 0 w 477"/>
              <a:gd name="T11" fmla="*/ 817 h 864"/>
              <a:gd name="T12" fmla="*/ 29 w 477"/>
              <a:gd name="T13" fmla="*/ 861 h 864"/>
              <a:gd name="T14" fmla="*/ 47 w 477"/>
              <a:gd name="T15" fmla="*/ 864 h 864"/>
              <a:gd name="T16" fmla="*/ 80 w 477"/>
              <a:gd name="T17" fmla="*/ 851 h 864"/>
              <a:gd name="T18" fmla="*/ 464 w 477"/>
              <a:gd name="T19" fmla="*/ 467 h 864"/>
              <a:gd name="T20" fmla="*/ 477 w 477"/>
              <a:gd name="T21" fmla="*/ 434 h 864"/>
              <a:gd name="T22" fmla="*/ 464 w 477"/>
              <a:gd name="T23" fmla="*/ 401 h 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77" h="864">
                <a:moveTo>
                  <a:pt x="464" y="401"/>
                </a:moveTo>
                <a:cubicBezTo>
                  <a:pt x="80" y="17"/>
                  <a:pt x="80" y="17"/>
                  <a:pt x="80" y="17"/>
                </a:cubicBezTo>
                <a:cubicBezTo>
                  <a:pt x="67" y="4"/>
                  <a:pt x="47" y="0"/>
                  <a:pt x="29" y="7"/>
                </a:cubicBezTo>
                <a:cubicBezTo>
                  <a:pt x="11" y="15"/>
                  <a:pt x="0" y="32"/>
                  <a:pt x="0" y="51"/>
                </a:cubicBezTo>
                <a:cubicBezTo>
                  <a:pt x="201" y="434"/>
                  <a:pt x="201" y="434"/>
                  <a:pt x="201" y="434"/>
                </a:cubicBezTo>
                <a:cubicBezTo>
                  <a:pt x="0" y="817"/>
                  <a:pt x="0" y="817"/>
                  <a:pt x="0" y="817"/>
                </a:cubicBezTo>
                <a:cubicBezTo>
                  <a:pt x="0" y="836"/>
                  <a:pt x="11" y="854"/>
                  <a:pt x="29" y="861"/>
                </a:cubicBezTo>
                <a:cubicBezTo>
                  <a:pt x="35" y="863"/>
                  <a:pt x="41" y="864"/>
                  <a:pt x="47" y="864"/>
                </a:cubicBezTo>
                <a:cubicBezTo>
                  <a:pt x="59" y="864"/>
                  <a:pt x="71" y="860"/>
                  <a:pt x="80" y="851"/>
                </a:cubicBezTo>
                <a:cubicBezTo>
                  <a:pt x="464" y="467"/>
                  <a:pt x="464" y="467"/>
                  <a:pt x="464" y="467"/>
                </a:cubicBezTo>
                <a:cubicBezTo>
                  <a:pt x="472" y="459"/>
                  <a:pt x="477" y="446"/>
                  <a:pt x="477" y="434"/>
                </a:cubicBezTo>
                <a:cubicBezTo>
                  <a:pt x="477" y="422"/>
                  <a:pt x="472" y="410"/>
                  <a:pt x="464" y="401"/>
                </a:cubicBezTo>
                <a:close/>
              </a:path>
            </a:pathLst>
          </a:custGeom>
          <a:gradFill>
            <a:gsLst>
              <a:gs pos="56000">
                <a:srgbClr val="EE9F00"/>
              </a:gs>
              <a:gs pos="38000">
                <a:srgbClr val="EE9F00"/>
              </a:gs>
              <a:gs pos="100000">
                <a:schemeClr val="bg2"/>
              </a:gs>
              <a:gs pos="0">
                <a:schemeClr val="bg2"/>
              </a:gs>
            </a:gsLst>
            <a:lin ang="16200000" scaled="1"/>
          </a:gra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 dirty="0">
              <a:solidFill>
                <a:sysClr val="windowText" lastClr="000000"/>
              </a:solidFill>
              <a:latin typeface="Arial" panose="020B0604020202020204" pitchFamily="34" charset="0"/>
            </a:endParaRP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3"/>
          </p:nvPr>
        </p:nvSpPr>
        <p:spPr bwMode="gray">
          <a:xfrm>
            <a:off x="1069975" y="5744496"/>
            <a:ext cx="7319963" cy="546100"/>
          </a:xfrm>
        </p:spPr>
        <p:txBody>
          <a:bodyPr anchor="ctr"/>
          <a:lstStyle>
            <a:lvl1pPr marL="0" indent="0" algn="l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754063" y="2016000"/>
            <a:ext cx="7635875" cy="3605311"/>
          </a:xfrm>
        </p:spPr>
        <p:txBody>
          <a:bodyPr/>
          <a:lstStyle/>
          <a:p>
            <a:pPr lvl="0"/>
            <a:r>
              <a:rPr lang="en-US" dirty="0"/>
              <a:t>Edit Slide Master Forma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3028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A338765-0E58-4C4E-AF61-77B29536DC05}" type="slidenum">
              <a:rPr lang="en-US" smtClean="0">
                <a:solidFill>
                  <a:srgbClr val="004179"/>
                </a:solidFill>
              </a:rPr>
              <a:pPr/>
              <a:t>‹#›</a:t>
            </a:fld>
            <a:endParaRPr lang="en-US" dirty="0">
              <a:solidFill>
                <a:srgbClr val="004179"/>
              </a:solidFill>
            </a:endParaRP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3" hasCustomPrompt="1"/>
          </p:nvPr>
        </p:nvSpPr>
        <p:spPr bwMode="gray">
          <a:xfrm>
            <a:off x="754063" y="2015999"/>
            <a:ext cx="3665537" cy="40248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Edit Slide Master Forma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4725138" y="2015999"/>
            <a:ext cx="3664800" cy="4024800"/>
          </a:xfrm>
        </p:spPr>
        <p:txBody>
          <a:bodyPr/>
          <a:lstStyle/>
          <a:p>
            <a:pPr lvl="0"/>
            <a:r>
              <a:rPr lang="en-US" dirty="0"/>
              <a:t>Edit Slide Master Forma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/>
          </p:nvPr>
        </p:nvSpPr>
        <p:spPr bwMode="gray">
          <a:xfrm>
            <a:off x="754063" y="6040191"/>
            <a:ext cx="7635875" cy="203200"/>
          </a:xfrm>
        </p:spPr>
        <p:txBody>
          <a:bodyPr anchor="b"/>
          <a:lstStyle>
            <a:lvl1pPr>
              <a:defRPr sz="900" b="0">
                <a:solidFill>
                  <a:schemeClr val="tx1"/>
                </a:solidFill>
              </a:defRPr>
            </a:lvl1pPr>
            <a:lvl2pPr>
              <a:defRPr sz="900" b="0">
                <a:solidFill>
                  <a:schemeClr val="tx1"/>
                </a:solidFill>
              </a:defRPr>
            </a:lvl2pPr>
            <a:lvl3pPr>
              <a:defRPr sz="900" b="0">
                <a:solidFill>
                  <a:schemeClr val="tx1"/>
                </a:solidFill>
              </a:defRPr>
            </a:lvl3pPr>
            <a:lvl4pPr>
              <a:defRPr sz="900" b="0">
                <a:solidFill>
                  <a:schemeClr val="tx1"/>
                </a:solidFill>
              </a:defRPr>
            </a:lvl4pPr>
            <a:lvl5pPr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34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ntent_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A338765-0E58-4C4E-AF61-77B29536DC05}" type="slidenum">
              <a:rPr lang="en-US" smtClean="0">
                <a:solidFill>
                  <a:srgbClr val="004179"/>
                </a:solidFill>
              </a:rPr>
              <a:pPr/>
              <a:t>‹#›</a:t>
            </a:fld>
            <a:endParaRPr lang="en-US" dirty="0">
              <a:solidFill>
                <a:srgbClr val="004179"/>
              </a:solidFill>
            </a:endParaRPr>
          </a:p>
        </p:txBody>
      </p:sp>
      <p:sp>
        <p:nvSpPr>
          <p:cNvPr id="10" name="Text Box 5"/>
          <p:cNvSpPr txBox="1">
            <a:spLocks noChangeArrowheads="1"/>
          </p:cNvSpPr>
          <p:nvPr userDrawn="1"/>
        </p:nvSpPr>
        <p:spPr bwMode="gray">
          <a:xfrm>
            <a:off x="6308728" y="6522570"/>
            <a:ext cx="1714500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000" b="1">
                <a:solidFill>
                  <a:schemeClr val="accent1"/>
                </a:solidFill>
                <a:latin typeface="Arial" pitchFamily="34" charset="0"/>
              </a:defRPr>
            </a:lvl1pPr>
            <a:lvl2pPr marL="742950" indent="-285750" eaLnBrk="0" hangingPunct="0">
              <a:defRPr sz="2000" b="1">
                <a:solidFill>
                  <a:schemeClr val="accent1"/>
                </a:solidFill>
                <a:latin typeface="Arial" pitchFamily="34" charset="0"/>
              </a:defRPr>
            </a:lvl2pPr>
            <a:lvl3pPr marL="1143000" indent="-228600" eaLnBrk="0" hangingPunct="0">
              <a:defRPr sz="2000" b="1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defRPr sz="2000" b="1">
                <a:solidFill>
                  <a:schemeClr val="accent1"/>
                </a:solidFill>
                <a:latin typeface="Arial" pitchFamily="34" charset="0"/>
              </a:defRPr>
            </a:lvl4pPr>
            <a:lvl5pPr marL="2057400" indent="-228600" eaLnBrk="0" hangingPunct="0">
              <a:defRPr sz="2000" b="1">
                <a:solidFill>
                  <a:schemeClr val="accent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600" dirty="0">
                <a:solidFill>
                  <a:srgbClr val="E58409"/>
                </a:solidFill>
              </a:rPr>
              <a:t>CONFIDENTIAL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754063" y="2016000"/>
            <a:ext cx="7635875" cy="4024800"/>
          </a:xfrm>
        </p:spPr>
        <p:txBody>
          <a:bodyPr/>
          <a:lstStyle/>
          <a:p>
            <a:pPr lvl="0"/>
            <a:r>
              <a:rPr lang="en-US" dirty="0"/>
              <a:t>Edit Slide Master Forma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5"/>
          </p:nvPr>
        </p:nvSpPr>
        <p:spPr bwMode="gray">
          <a:xfrm>
            <a:off x="754063" y="6040191"/>
            <a:ext cx="7635875" cy="203200"/>
          </a:xfrm>
        </p:spPr>
        <p:txBody>
          <a:bodyPr anchor="b"/>
          <a:lstStyle>
            <a:lvl1pPr>
              <a:defRPr sz="900" b="0">
                <a:solidFill>
                  <a:schemeClr val="tx1"/>
                </a:solidFill>
              </a:defRPr>
            </a:lvl1pPr>
            <a:lvl2pPr>
              <a:defRPr sz="900" b="0">
                <a:solidFill>
                  <a:schemeClr val="tx1"/>
                </a:solidFill>
              </a:defRPr>
            </a:lvl2pPr>
            <a:lvl3pPr>
              <a:defRPr sz="900" b="0">
                <a:solidFill>
                  <a:schemeClr val="tx1"/>
                </a:solidFill>
              </a:defRPr>
            </a:lvl3pPr>
            <a:lvl4pPr>
              <a:defRPr sz="900" b="0">
                <a:solidFill>
                  <a:schemeClr val="tx1"/>
                </a:solidFill>
              </a:defRPr>
            </a:lvl4pPr>
            <a:lvl5pPr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989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29" descr="Company-Motiv-(Businessman)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53924"/>
            <a:ext cx="9144000" cy="6704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bgerundetes Rechteck 8"/>
          <p:cNvSpPr/>
          <p:nvPr userDrawn="1"/>
        </p:nvSpPr>
        <p:spPr bwMode="gray">
          <a:xfrm>
            <a:off x="395287" y="1769533"/>
            <a:ext cx="8353425" cy="4747202"/>
          </a:xfrm>
          <a:prstGeom prst="roundRect">
            <a:avLst>
              <a:gd name="adj" fmla="val 5468"/>
            </a:avLst>
          </a:prstGeom>
          <a:gradFill flip="none" rotWithShape="1">
            <a:gsLst>
              <a:gs pos="0">
                <a:schemeClr val="bg1">
                  <a:alpha val="25000"/>
                </a:schemeClr>
              </a:gs>
              <a:gs pos="20000">
                <a:srgbClr val="FFFFFF">
                  <a:alpha val="78000"/>
                </a:srgbClr>
              </a:gs>
              <a:gs pos="74000">
                <a:schemeClr val="bg1">
                  <a:alpha val="43000"/>
                </a:schemeClr>
              </a:gs>
              <a:gs pos="100000">
                <a:schemeClr val="bg1">
                  <a:alpha val="2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rgbClr val="29292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C7BD98F-CB44-460A-AB0F-B78530F77C65}" type="slidenum">
              <a:rPr lang="en-US">
                <a:solidFill>
                  <a:srgbClr val="004179"/>
                </a:solidFill>
              </a:rPr>
              <a:pPr/>
              <a:t>‹#›</a:t>
            </a:fld>
            <a:endParaRPr lang="en-US">
              <a:solidFill>
                <a:srgbClr val="004179"/>
              </a:solidFill>
            </a:endParaRPr>
          </a:p>
        </p:txBody>
      </p:sp>
      <p:sp>
        <p:nvSpPr>
          <p:cNvPr id="6" name="Rechteck 21"/>
          <p:cNvSpPr/>
          <p:nvPr userDrawn="1"/>
        </p:nvSpPr>
        <p:spPr bwMode="gray">
          <a:xfrm>
            <a:off x="0" y="0"/>
            <a:ext cx="9144982" cy="821830"/>
          </a:xfrm>
          <a:custGeom>
            <a:avLst/>
            <a:gdLst>
              <a:gd name="connsiteX0" fmla="*/ 0 w 9144000"/>
              <a:gd name="connsiteY0" fmla="*/ 394689 h 1011420"/>
              <a:gd name="connsiteX1" fmla="*/ 2306652 w 9144000"/>
              <a:gd name="connsiteY1" fmla="*/ 629718 h 1011420"/>
              <a:gd name="connsiteX2" fmla="*/ 5178847 w 9144000"/>
              <a:gd name="connsiteY2" fmla="*/ 639246 h 1011420"/>
              <a:gd name="connsiteX3" fmla="*/ 9144000 w 9144000"/>
              <a:gd name="connsiteY3" fmla="*/ 664654 h 1011420"/>
              <a:gd name="connsiteX4" fmla="*/ 9144000 w 9144000"/>
              <a:gd name="connsiteY4" fmla="*/ 1011420 h 1011420"/>
              <a:gd name="connsiteX5" fmla="*/ 0 w 9144000"/>
              <a:gd name="connsiteY5" fmla="*/ 1011420 h 1011420"/>
              <a:gd name="connsiteX6" fmla="*/ 0 w 9144000"/>
              <a:gd name="connsiteY6" fmla="*/ 394689 h 1011420"/>
              <a:gd name="connsiteX7" fmla="*/ 0 w 9144000"/>
              <a:gd name="connsiteY7" fmla="*/ 0 h 1011420"/>
              <a:gd name="connsiteX8" fmla="*/ 9144000 w 9144000"/>
              <a:gd name="connsiteY8" fmla="*/ 0 h 1011420"/>
              <a:gd name="connsiteX9" fmla="*/ 9144000 w 9144000"/>
              <a:gd name="connsiteY9" fmla="*/ 416922 h 1011420"/>
              <a:gd name="connsiteX10" fmla="*/ 6141540 w 9144000"/>
              <a:gd name="connsiteY10" fmla="*/ 686887 h 1011420"/>
              <a:gd name="connsiteX11" fmla="*/ 3812648 w 9144000"/>
              <a:gd name="connsiteY11" fmla="*/ 286703 h 1011420"/>
              <a:gd name="connsiteX12" fmla="*/ 1375730 w 9144000"/>
              <a:gd name="connsiteY12" fmla="*/ 642422 h 1011420"/>
              <a:gd name="connsiteX13" fmla="*/ 0 w 9144000"/>
              <a:gd name="connsiteY13" fmla="*/ 394689 h 1011420"/>
              <a:gd name="connsiteX14" fmla="*/ 0 w 9144000"/>
              <a:gd name="connsiteY14" fmla="*/ 0 h 1011420"/>
              <a:gd name="connsiteX0" fmla="*/ 0 w 9144000"/>
              <a:gd name="connsiteY0" fmla="*/ 394689 h 1011420"/>
              <a:gd name="connsiteX1" fmla="*/ 2306652 w 9144000"/>
              <a:gd name="connsiteY1" fmla="*/ 629718 h 1011420"/>
              <a:gd name="connsiteX2" fmla="*/ 5178847 w 9144000"/>
              <a:gd name="connsiteY2" fmla="*/ 639246 h 1011420"/>
              <a:gd name="connsiteX3" fmla="*/ 9144000 w 9144000"/>
              <a:gd name="connsiteY3" fmla="*/ 664654 h 1011420"/>
              <a:gd name="connsiteX4" fmla="*/ 9144000 w 9144000"/>
              <a:gd name="connsiteY4" fmla="*/ 1011420 h 1011420"/>
              <a:gd name="connsiteX5" fmla="*/ 0 w 9144000"/>
              <a:gd name="connsiteY5" fmla="*/ 394689 h 1011420"/>
              <a:gd name="connsiteX6" fmla="*/ 0 w 9144000"/>
              <a:gd name="connsiteY6" fmla="*/ 0 h 1011420"/>
              <a:gd name="connsiteX7" fmla="*/ 9144000 w 9144000"/>
              <a:gd name="connsiteY7" fmla="*/ 0 h 1011420"/>
              <a:gd name="connsiteX8" fmla="*/ 9144000 w 9144000"/>
              <a:gd name="connsiteY8" fmla="*/ 416922 h 1011420"/>
              <a:gd name="connsiteX9" fmla="*/ 6141540 w 9144000"/>
              <a:gd name="connsiteY9" fmla="*/ 686887 h 1011420"/>
              <a:gd name="connsiteX10" fmla="*/ 3812648 w 9144000"/>
              <a:gd name="connsiteY10" fmla="*/ 286703 h 1011420"/>
              <a:gd name="connsiteX11" fmla="*/ 1375730 w 9144000"/>
              <a:gd name="connsiteY11" fmla="*/ 642422 h 1011420"/>
              <a:gd name="connsiteX12" fmla="*/ 0 w 9144000"/>
              <a:gd name="connsiteY12" fmla="*/ 394689 h 1011420"/>
              <a:gd name="connsiteX13" fmla="*/ 0 w 9144000"/>
              <a:gd name="connsiteY13" fmla="*/ 0 h 1011420"/>
              <a:gd name="connsiteX0" fmla="*/ 0 w 9144000"/>
              <a:gd name="connsiteY0" fmla="*/ 394689 h 950210"/>
              <a:gd name="connsiteX1" fmla="*/ 2306652 w 9144000"/>
              <a:gd name="connsiteY1" fmla="*/ 629718 h 950210"/>
              <a:gd name="connsiteX2" fmla="*/ 5178847 w 9144000"/>
              <a:gd name="connsiteY2" fmla="*/ 639246 h 950210"/>
              <a:gd name="connsiteX3" fmla="*/ 9144000 w 9144000"/>
              <a:gd name="connsiteY3" fmla="*/ 664654 h 950210"/>
              <a:gd name="connsiteX4" fmla="*/ 0 w 9144000"/>
              <a:gd name="connsiteY4" fmla="*/ 394689 h 950210"/>
              <a:gd name="connsiteX5" fmla="*/ 0 w 9144000"/>
              <a:gd name="connsiteY5" fmla="*/ 0 h 950210"/>
              <a:gd name="connsiteX6" fmla="*/ 9144000 w 9144000"/>
              <a:gd name="connsiteY6" fmla="*/ 0 h 950210"/>
              <a:gd name="connsiteX7" fmla="*/ 9144000 w 9144000"/>
              <a:gd name="connsiteY7" fmla="*/ 416922 h 950210"/>
              <a:gd name="connsiteX8" fmla="*/ 6141540 w 9144000"/>
              <a:gd name="connsiteY8" fmla="*/ 686887 h 950210"/>
              <a:gd name="connsiteX9" fmla="*/ 3812648 w 9144000"/>
              <a:gd name="connsiteY9" fmla="*/ 286703 h 950210"/>
              <a:gd name="connsiteX10" fmla="*/ 1375730 w 9144000"/>
              <a:gd name="connsiteY10" fmla="*/ 642422 h 950210"/>
              <a:gd name="connsiteX11" fmla="*/ 0 w 9144000"/>
              <a:gd name="connsiteY11" fmla="*/ 394689 h 950210"/>
              <a:gd name="connsiteX12" fmla="*/ 0 w 9144000"/>
              <a:gd name="connsiteY12" fmla="*/ 0 h 950210"/>
              <a:gd name="connsiteX0" fmla="*/ 0 w 9144000"/>
              <a:gd name="connsiteY0" fmla="*/ 394689 h 766858"/>
              <a:gd name="connsiteX1" fmla="*/ 2306652 w 9144000"/>
              <a:gd name="connsiteY1" fmla="*/ 629718 h 766858"/>
              <a:gd name="connsiteX2" fmla="*/ 5178847 w 9144000"/>
              <a:gd name="connsiteY2" fmla="*/ 639246 h 766858"/>
              <a:gd name="connsiteX3" fmla="*/ 0 w 9144000"/>
              <a:gd name="connsiteY3" fmla="*/ 394689 h 766858"/>
              <a:gd name="connsiteX4" fmla="*/ 0 w 9144000"/>
              <a:gd name="connsiteY4" fmla="*/ 0 h 766858"/>
              <a:gd name="connsiteX5" fmla="*/ 9144000 w 9144000"/>
              <a:gd name="connsiteY5" fmla="*/ 0 h 766858"/>
              <a:gd name="connsiteX6" fmla="*/ 9144000 w 9144000"/>
              <a:gd name="connsiteY6" fmla="*/ 416922 h 766858"/>
              <a:gd name="connsiteX7" fmla="*/ 6141540 w 9144000"/>
              <a:gd name="connsiteY7" fmla="*/ 686887 h 766858"/>
              <a:gd name="connsiteX8" fmla="*/ 3812648 w 9144000"/>
              <a:gd name="connsiteY8" fmla="*/ 286703 h 766858"/>
              <a:gd name="connsiteX9" fmla="*/ 1375730 w 9144000"/>
              <a:gd name="connsiteY9" fmla="*/ 642422 h 766858"/>
              <a:gd name="connsiteX10" fmla="*/ 0 w 9144000"/>
              <a:gd name="connsiteY10" fmla="*/ 394689 h 766858"/>
              <a:gd name="connsiteX11" fmla="*/ 0 w 9144000"/>
              <a:gd name="connsiteY11" fmla="*/ 0 h 766858"/>
              <a:gd name="connsiteX0" fmla="*/ 0 w 9144000"/>
              <a:gd name="connsiteY0" fmla="*/ 0 h 766858"/>
              <a:gd name="connsiteX1" fmla="*/ 9144000 w 9144000"/>
              <a:gd name="connsiteY1" fmla="*/ 0 h 766858"/>
              <a:gd name="connsiteX2" fmla="*/ 9144000 w 9144000"/>
              <a:gd name="connsiteY2" fmla="*/ 416922 h 766858"/>
              <a:gd name="connsiteX3" fmla="*/ 6141540 w 9144000"/>
              <a:gd name="connsiteY3" fmla="*/ 686887 h 766858"/>
              <a:gd name="connsiteX4" fmla="*/ 3812648 w 9144000"/>
              <a:gd name="connsiteY4" fmla="*/ 286703 h 766858"/>
              <a:gd name="connsiteX5" fmla="*/ 1375730 w 9144000"/>
              <a:gd name="connsiteY5" fmla="*/ 642422 h 766858"/>
              <a:gd name="connsiteX6" fmla="*/ 0 w 9144000"/>
              <a:gd name="connsiteY6" fmla="*/ 394689 h 766858"/>
              <a:gd name="connsiteX7" fmla="*/ 0 w 9144000"/>
              <a:gd name="connsiteY7" fmla="*/ 0 h 766858"/>
              <a:gd name="connsiteX8" fmla="*/ 2398092 w 9144000"/>
              <a:gd name="connsiteY8" fmla="*/ 721158 h 766858"/>
              <a:gd name="connsiteX0" fmla="*/ 0 w 9144000"/>
              <a:gd name="connsiteY0" fmla="*/ 0 h 766858"/>
              <a:gd name="connsiteX1" fmla="*/ 9144000 w 9144000"/>
              <a:gd name="connsiteY1" fmla="*/ 0 h 766858"/>
              <a:gd name="connsiteX2" fmla="*/ 9144000 w 9144000"/>
              <a:gd name="connsiteY2" fmla="*/ 416922 h 766858"/>
              <a:gd name="connsiteX3" fmla="*/ 6141540 w 9144000"/>
              <a:gd name="connsiteY3" fmla="*/ 686887 h 766858"/>
              <a:gd name="connsiteX4" fmla="*/ 3812648 w 9144000"/>
              <a:gd name="connsiteY4" fmla="*/ 286703 h 766858"/>
              <a:gd name="connsiteX5" fmla="*/ 1375730 w 9144000"/>
              <a:gd name="connsiteY5" fmla="*/ 642422 h 766858"/>
              <a:gd name="connsiteX6" fmla="*/ 0 w 9144000"/>
              <a:gd name="connsiteY6" fmla="*/ 394689 h 766858"/>
              <a:gd name="connsiteX7" fmla="*/ 0 w 9144000"/>
              <a:gd name="connsiteY7" fmla="*/ 0 h 766858"/>
              <a:gd name="connsiteX0" fmla="*/ 0 w 9144000"/>
              <a:gd name="connsiteY0" fmla="*/ 0 h 692144"/>
              <a:gd name="connsiteX1" fmla="*/ 9144000 w 9144000"/>
              <a:gd name="connsiteY1" fmla="*/ 0 h 692144"/>
              <a:gd name="connsiteX2" fmla="*/ 9144000 w 9144000"/>
              <a:gd name="connsiteY2" fmla="*/ 500742 h 692144"/>
              <a:gd name="connsiteX3" fmla="*/ 6141540 w 9144000"/>
              <a:gd name="connsiteY3" fmla="*/ 686887 h 692144"/>
              <a:gd name="connsiteX4" fmla="*/ 3812648 w 9144000"/>
              <a:gd name="connsiteY4" fmla="*/ 286703 h 692144"/>
              <a:gd name="connsiteX5" fmla="*/ 1375730 w 9144000"/>
              <a:gd name="connsiteY5" fmla="*/ 642422 h 692144"/>
              <a:gd name="connsiteX6" fmla="*/ 0 w 9144000"/>
              <a:gd name="connsiteY6" fmla="*/ 394689 h 692144"/>
              <a:gd name="connsiteX7" fmla="*/ 0 w 9144000"/>
              <a:gd name="connsiteY7" fmla="*/ 0 h 692144"/>
              <a:gd name="connsiteX0" fmla="*/ 0 w 9144000"/>
              <a:gd name="connsiteY0" fmla="*/ 0 h 804424"/>
              <a:gd name="connsiteX1" fmla="*/ 9144000 w 9144000"/>
              <a:gd name="connsiteY1" fmla="*/ 0 h 804424"/>
              <a:gd name="connsiteX2" fmla="*/ 9144000 w 9144000"/>
              <a:gd name="connsiteY2" fmla="*/ 500742 h 804424"/>
              <a:gd name="connsiteX3" fmla="*/ 6895920 w 9144000"/>
              <a:gd name="connsiteY3" fmla="*/ 801187 h 804424"/>
              <a:gd name="connsiteX4" fmla="*/ 3812648 w 9144000"/>
              <a:gd name="connsiteY4" fmla="*/ 286703 h 804424"/>
              <a:gd name="connsiteX5" fmla="*/ 1375730 w 9144000"/>
              <a:gd name="connsiteY5" fmla="*/ 642422 h 804424"/>
              <a:gd name="connsiteX6" fmla="*/ 0 w 9144000"/>
              <a:gd name="connsiteY6" fmla="*/ 394689 h 804424"/>
              <a:gd name="connsiteX7" fmla="*/ 0 w 9144000"/>
              <a:gd name="connsiteY7" fmla="*/ 0 h 804424"/>
              <a:gd name="connsiteX0" fmla="*/ 0 w 9144000"/>
              <a:gd name="connsiteY0" fmla="*/ 0 h 802352"/>
              <a:gd name="connsiteX1" fmla="*/ 9144000 w 9144000"/>
              <a:gd name="connsiteY1" fmla="*/ 0 h 802352"/>
              <a:gd name="connsiteX2" fmla="*/ 9144000 w 9144000"/>
              <a:gd name="connsiteY2" fmla="*/ 500742 h 802352"/>
              <a:gd name="connsiteX3" fmla="*/ 6895920 w 9144000"/>
              <a:gd name="connsiteY3" fmla="*/ 801187 h 802352"/>
              <a:gd name="connsiteX4" fmla="*/ 3812648 w 9144000"/>
              <a:gd name="connsiteY4" fmla="*/ 286703 h 802352"/>
              <a:gd name="connsiteX5" fmla="*/ 1375730 w 9144000"/>
              <a:gd name="connsiteY5" fmla="*/ 642422 h 802352"/>
              <a:gd name="connsiteX6" fmla="*/ 0 w 9144000"/>
              <a:gd name="connsiteY6" fmla="*/ 394689 h 802352"/>
              <a:gd name="connsiteX7" fmla="*/ 0 w 9144000"/>
              <a:gd name="connsiteY7" fmla="*/ 0 h 80235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75730 w 9144000"/>
              <a:gd name="connsiteY5" fmla="*/ 642422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86840 w 9144000"/>
              <a:gd name="connsiteY5" fmla="*/ 553974 h 805292"/>
              <a:gd name="connsiteX6" fmla="*/ 1375730 w 9144000"/>
              <a:gd name="connsiteY6" fmla="*/ 642422 h 805292"/>
              <a:gd name="connsiteX7" fmla="*/ 0 w 9144000"/>
              <a:gd name="connsiteY7" fmla="*/ 394689 h 805292"/>
              <a:gd name="connsiteX8" fmla="*/ 0 w 9144000"/>
              <a:gd name="connsiteY8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86840 w 9144000"/>
              <a:gd name="connsiteY5" fmla="*/ 55397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432560 w 9144000"/>
              <a:gd name="connsiteY5" fmla="*/ 57683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432560 w 9144000"/>
              <a:gd name="connsiteY5" fmla="*/ 57683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992"/>
              <a:gd name="connsiteX1" fmla="*/ 9144000 w 9144000"/>
              <a:gd name="connsiteY1" fmla="*/ 0 h 805992"/>
              <a:gd name="connsiteX2" fmla="*/ 9144000 w 9144000"/>
              <a:gd name="connsiteY2" fmla="*/ 500742 h 805992"/>
              <a:gd name="connsiteX3" fmla="*/ 6895920 w 9144000"/>
              <a:gd name="connsiteY3" fmla="*/ 801187 h 805992"/>
              <a:gd name="connsiteX4" fmla="*/ 3865988 w 9144000"/>
              <a:gd name="connsiteY4" fmla="*/ 233363 h 805992"/>
              <a:gd name="connsiteX5" fmla="*/ 1432560 w 9144000"/>
              <a:gd name="connsiteY5" fmla="*/ 576834 h 805992"/>
              <a:gd name="connsiteX6" fmla="*/ 0 w 9144000"/>
              <a:gd name="connsiteY6" fmla="*/ 394689 h 805992"/>
              <a:gd name="connsiteX7" fmla="*/ 0 w 9144000"/>
              <a:gd name="connsiteY7" fmla="*/ 0 h 805992"/>
              <a:gd name="connsiteX0" fmla="*/ 0 w 9144000"/>
              <a:gd name="connsiteY0" fmla="*/ 0 h 805992"/>
              <a:gd name="connsiteX1" fmla="*/ 9144000 w 9144000"/>
              <a:gd name="connsiteY1" fmla="*/ 0 h 805992"/>
              <a:gd name="connsiteX2" fmla="*/ 9144000 w 9144000"/>
              <a:gd name="connsiteY2" fmla="*/ 500742 h 805992"/>
              <a:gd name="connsiteX3" fmla="*/ 6895920 w 9144000"/>
              <a:gd name="connsiteY3" fmla="*/ 801187 h 805992"/>
              <a:gd name="connsiteX4" fmla="*/ 3865988 w 9144000"/>
              <a:gd name="connsiteY4" fmla="*/ 233363 h 805992"/>
              <a:gd name="connsiteX5" fmla="*/ 1432560 w 9144000"/>
              <a:gd name="connsiteY5" fmla="*/ 576834 h 805992"/>
              <a:gd name="connsiteX6" fmla="*/ 0 w 9144000"/>
              <a:gd name="connsiteY6" fmla="*/ 394689 h 805992"/>
              <a:gd name="connsiteX7" fmla="*/ 0 w 9144000"/>
              <a:gd name="connsiteY7" fmla="*/ 0 h 805992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390650 w 9144000"/>
              <a:gd name="connsiteY5" fmla="*/ 627634 h 810959"/>
              <a:gd name="connsiteX6" fmla="*/ 1432560 w 9144000"/>
              <a:gd name="connsiteY6" fmla="*/ 57683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390650 w 9144000"/>
              <a:gd name="connsiteY5" fmla="*/ 62763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25600 w 9144000"/>
              <a:gd name="connsiteY5" fmla="*/ 6212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48046 w 9192046"/>
              <a:gd name="connsiteY0" fmla="*/ 0 h 810959"/>
              <a:gd name="connsiteX1" fmla="*/ 9192046 w 9192046"/>
              <a:gd name="connsiteY1" fmla="*/ 0 h 810959"/>
              <a:gd name="connsiteX2" fmla="*/ 9192046 w 9192046"/>
              <a:gd name="connsiteY2" fmla="*/ 500742 h 810959"/>
              <a:gd name="connsiteX3" fmla="*/ 6943966 w 9192046"/>
              <a:gd name="connsiteY3" fmla="*/ 801187 h 810959"/>
              <a:gd name="connsiteX4" fmla="*/ 3914034 w 9192046"/>
              <a:gd name="connsiteY4" fmla="*/ 233363 h 810959"/>
              <a:gd name="connsiteX5" fmla="*/ 1673646 w 9192046"/>
              <a:gd name="connsiteY5" fmla="*/ 621284 h 810959"/>
              <a:gd name="connsiteX6" fmla="*/ 915456 w 9192046"/>
              <a:gd name="connsiteY6" fmla="*/ 633984 h 810959"/>
              <a:gd name="connsiteX7" fmla="*/ 54396 w 9192046"/>
              <a:gd name="connsiteY7" fmla="*/ 456184 h 810959"/>
              <a:gd name="connsiteX8" fmla="*/ 79796 w 9192046"/>
              <a:gd name="connsiteY8" fmla="*/ 458189 h 810959"/>
              <a:gd name="connsiteX9" fmla="*/ 48046 w 9192046"/>
              <a:gd name="connsiteY9" fmla="*/ 0 h 810959"/>
              <a:gd name="connsiteX0" fmla="*/ 59284 w 9203284"/>
              <a:gd name="connsiteY0" fmla="*/ 0 h 810959"/>
              <a:gd name="connsiteX1" fmla="*/ 9203284 w 9203284"/>
              <a:gd name="connsiteY1" fmla="*/ 0 h 810959"/>
              <a:gd name="connsiteX2" fmla="*/ 9203284 w 9203284"/>
              <a:gd name="connsiteY2" fmla="*/ 500742 h 810959"/>
              <a:gd name="connsiteX3" fmla="*/ 6955204 w 9203284"/>
              <a:gd name="connsiteY3" fmla="*/ 801187 h 810959"/>
              <a:gd name="connsiteX4" fmla="*/ 3925272 w 9203284"/>
              <a:gd name="connsiteY4" fmla="*/ 233363 h 810959"/>
              <a:gd name="connsiteX5" fmla="*/ 1684884 w 9203284"/>
              <a:gd name="connsiteY5" fmla="*/ 621284 h 810959"/>
              <a:gd name="connsiteX6" fmla="*/ 926694 w 9203284"/>
              <a:gd name="connsiteY6" fmla="*/ 633984 h 810959"/>
              <a:gd name="connsiteX7" fmla="*/ 65634 w 9203284"/>
              <a:gd name="connsiteY7" fmla="*/ 456184 h 810959"/>
              <a:gd name="connsiteX8" fmla="*/ 59284 w 9203284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25600 w 9144000"/>
              <a:gd name="connsiteY5" fmla="*/ 621284 h 810959"/>
              <a:gd name="connsiteX6" fmla="*/ 867410 w 9144000"/>
              <a:gd name="connsiteY6" fmla="*/ 633984 h 810959"/>
              <a:gd name="connsiteX7" fmla="*/ 6350 w 9144000"/>
              <a:gd name="connsiteY7" fmla="*/ 456184 h 810959"/>
              <a:gd name="connsiteX8" fmla="*/ 0 w 9144000"/>
              <a:gd name="connsiteY8" fmla="*/ 0 h 810959"/>
              <a:gd name="connsiteX0" fmla="*/ 19050 w 9163050"/>
              <a:gd name="connsiteY0" fmla="*/ 0 h 810959"/>
              <a:gd name="connsiteX1" fmla="*/ 9163050 w 9163050"/>
              <a:gd name="connsiteY1" fmla="*/ 0 h 810959"/>
              <a:gd name="connsiteX2" fmla="*/ 9163050 w 9163050"/>
              <a:gd name="connsiteY2" fmla="*/ 500742 h 810959"/>
              <a:gd name="connsiteX3" fmla="*/ 6914970 w 9163050"/>
              <a:gd name="connsiteY3" fmla="*/ 801187 h 810959"/>
              <a:gd name="connsiteX4" fmla="*/ 3885038 w 9163050"/>
              <a:gd name="connsiteY4" fmla="*/ 233363 h 810959"/>
              <a:gd name="connsiteX5" fmla="*/ 1644650 w 9163050"/>
              <a:gd name="connsiteY5" fmla="*/ 621284 h 810959"/>
              <a:gd name="connsiteX6" fmla="*/ 886460 w 9163050"/>
              <a:gd name="connsiteY6" fmla="*/ 633984 h 810959"/>
              <a:gd name="connsiteX7" fmla="*/ 0 w 9163050"/>
              <a:gd name="connsiteY7" fmla="*/ 449834 h 810959"/>
              <a:gd name="connsiteX8" fmla="*/ 19050 w 91630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31950 w 9150350"/>
              <a:gd name="connsiteY5" fmla="*/ 621284 h 810959"/>
              <a:gd name="connsiteX6" fmla="*/ 873760 w 9150350"/>
              <a:gd name="connsiteY6" fmla="*/ 6339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31950 w 9150350"/>
              <a:gd name="connsiteY5" fmla="*/ 6212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19250 w 9150350"/>
              <a:gd name="connsiteY5" fmla="*/ 5831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19250 w 9150350"/>
              <a:gd name="connsiteY5" fmla="*/ 5831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19250 w 9150350"/>
              <a:gd name="connsiteY5" fmla="*/ 583184 h 802448"/>
              <a:gd name="connsiteX6" fmla="*/ 867410 w 9150350"/>
              <a:gd name="connsiteY6" fmla="*/ 583184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50246 w 9150350"/>
              <a:gd name="connsiteY5" fmla="*/ 699421 h 802448"/>
              <a:gd name="connsiteX6" fmla="*/ 867410 w 9150350"/>
              <a:gd name="connsiteY6" fmla="*/ 583184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50246 w 9150350"/>
              <a:gd name="connsiteY5" fmla="*/ 699421 h 802448"/>
              <a:gd name="connsiteX6" fmla="*/ 859660 w 9150350"/>
              <a:gd name="connsiteY6" fmla="*/ 699422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16313"/>
              <a:gd name="connsiteX1" fmla="*/ 9144000 w 9144000"/>
              <a:gd name="connsiteY1" fmla="*/ 0 h 816313"/>
              <a:gd name="connsiteX2" fmla="*/ 9144000 w 9144000"/>
              <a:gd name="connsiteY2" fmla="*/ 500742 h 816313"/>
              <a:gd name="connsiteX3" fmla="*/ 6895920 w 9144000"/>
              <a:gd name="connsiteY3" fmla="*/ 801187 h 816313"/>
              <a:gd name="connsiteX4" fmla="*/ 3935730 w 9144000"/>
              <a:gd name="connsiteY4" fmla="*/ 372848 h 816313"/>
              <a:gd name="connsiteX5" fmla="*/ 1643896 w 9144000"/>
              <a:gd name="connsiteY5" fmla="*/ 699421 h 816313"/>
              <a:gd name="connsiteX6" fmla="*/ 853310 w 9144000"/>
              <a:gd name="connsiteY6" fmla="*/ 699422 h 816313"/>
              <a:gd name="connsiteX7" fmla="*/ 1399 w 9144000"/>
              <a:gd name="connsiteY7" fmla="*/ 508921 h 816313"/>
              <a:gd name="connsiteX8" fmla="*/ 0 w 9144000"/>
              <a:gd name="connsiteY8" fmla="*/ 0 h 816313"/>
              <a:gd name="connsiteX0" fmla="*/ 0 w 9144000"/>
              <a:gd name="connsiteY0" fmla="*/ 0 h 821830"/>
              <a:gd name="connsiteX1" fmla="*/ 9144000 w 9144000"/>
              <a:gd name="connsiteY1" fmla="*/ 0 h 821830"/>
              <a:gd name="connsiteX2" fmla="*/ 9144000 w 9144000"/>
              <a:gd name="connsiteY2" fmla="*/ 500742 h 821830"/>
              <a:gd name="connsiteX3" fmla="*/ 6895920 w 9144000"/>
              <a:gd name="connsiteY3" fmla="*/ 801187 h 821830"/>
              <a:gd name="connsiteX4" fmla="*/ 3935730 w 9144000"/>
              <a:gd name="connsiteY4" fmla="*/ 372848 h 821830"/>
              <a:gd name="connsiteX5" fmla="*/ 1643896 w 9144000"/>
              <a:gd name="connsiteY5" fmla="*/ 699421 h 821830"/>
              <a:gd name="connsiteX6" fmla="*/ 853310 w 9144000"/>
              <a:gd name="connsiteY6" fmla="*/ 699422 h 821830"/>
              <a:gd name="connsiteX7" fmla="*/ 1399 w 9144000"/>
              <a:gd name="connsiteY7" fmla="*/ 508921 h 821830"/>
              <a:gd name="connsiteX8" fmla="*/ 0 w 9144000"/>
              <a:gd name="connsiteY8" fmla="*/ 0 h 821830"/>
              <a:gd name="connsiteX0" fmla="*/ 5745 w 9149745"/>
              <a:gd name="connsiteY0" fmla="*/ 0 h 821830"/>
              <a:gd name="connsiteX1" fmla="*/ 9149745 w 9149745"/>
              <a:gd name="connsiteY1" fmla="*/ 0 h 821830"/>
              <a:gd name="connsiteX2" fmla="*/ 9149745 w 9149745"/>
              <a:gd name="connsiteY2" fmla="*/ 500742 h 821830"/>
              <a:gd name="connsiteX3" fmla="*/ 6901665 w 9149745"/>
              <a:gd name="connsiteY3" fmla="*/ 801187 h 821830"/>
              <a:gd name="connsiteX4" fmla="*/ 3941475 w 9149745"/>
              <a:gd name="connsiteY4" fmla="*/ 372848 h 821830"/>
              <a:gd name="connsiteX5" fmla="*/ 1649641 w 9149745"/>
              <a:gd name="connsiteY5" fmla="*/ 699421 h 821830"/>
              <a:gd name="connsiteX6" fmla="*/ 859055 w 9149745"/>
              <a:gd name="connsiteY6" fmla="*/ 699422 h 821830"/>
              <a:gd name="connsiteX7" fmla="*/ 0 w 9149745"/>
              <a:gd name="connsiteY7" fmla="*/ 516065 h 821830"/>
              <a:gd name="connsiteX8" fmla="*/ 5745 w 9149745"/>
              <a:gd name="connsiteY8" fmla="*/ 0 h 821830"/>
              <a:gd name="connsiteX0" fmla="*/ 5745 w 9149745"/>
              <a:gd name="connsiteY0" fmla="*/ 0 h 821830"/>
              <a:gd name="connsiteX1" fmla="*/ 9149745 w 9149745"/>
              <a:gd name="connsiteY1" fmla="*/ 0 h 821830"/>
              <a:gd name="connsiteX2" fmla="*/ 9149745 w 9149745"/>
              <a:gd name="connsiteY2" fmla="*/ 500742 h 821830"/>
              <a:gd name="connsiteX3" fmla="*/ 6901665 w 9149745"/>
              <a:gd name="connsiteY3" fmla="*/ 801187 h 821830"/>
              <a:gd name="connsiteX4" fmla="*/ 3941475 w 9149745"/>
              <a:gd name="connsiteY4" fmla="*/ 372848 h 821830"/>
              <a:gd name="connsiteX5" fmla="*/ 1649641 w 9149745"/>
              <a:gd name="connsiteY5" fmla="*/ 699421 h 821830"/>
              <a:gd name="connsiteX6" fmla="*/ 859055 w 9149745"/>
              <a:gd name="connsiteY6" fmla="*/ 699422 h 821830"/>
              <a:gd name="connsiteX7" fmla="*/ 0 w 9149745"/>
              <a:gd name="connsiteY7" fmla="*/ 516065 h 821830"/>
              <a:gd name="connsiteX8" fmla="*/ 5745 w 9149745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16065 h 821830"/>
              <a:gd name="connsiteX8" fmla="*/ 3364 w 9147364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27971 h 821830"/>
              <a:gd name="connsiteX8" fmla="*/ 3364 w 9147364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27971 h 821830"/>
              <a:gd name="connsiteX8" fmla="*/ 3364 w 9147364"/>
              <a:gd name="connsiteY8" fmla="*/ 0 h 821830"/>
              <a:gd name="connsiteX0" fmla="*/ 0 w 9144000"/>
              <a:gd name="connsiteY0" fmla="*/ 0 h 821830"/>
              <a:gd name="connsiteX1" fmla="*/ 9144000 w 9144000"/>
              <a:gd name="connsiteY1" fmla="*/ 0 h 821830"/>
              <a:gd name="connsiteX2" fmla="*/ 9144000 w 9144000"/>
              <a:gd name="connsiteY2" fmla="*/ 500742 h 821830"/>
              <a:gd name="connsiteX3" fmla="*/ 6895920 w 9144000"/>
              <a:gd name="connsiteY3" fmla="*/ 801187 h 821830"/>
              <a:gd name="connsiteX4" fmla="*/ 3935730 w 9144000"/>
              <a:gd name="connsiteY4" fmla="*/ 372848 h 821830"/>
              <a:gd name="connsiteX5" fmla="*/ 1643896 w 9144000"/>
              <a:gd name="connsiteY5" fmla="*/ 699421 h 821830"/>
              <a:gd name="connsiteX6" fmla="*/ 853310 w 9144000"/>
              <a:gd name="connsiteY6" fmla="*/ 699422 h 821830"/>
              <a:gd name="connsiteX7" fmla="*/ 44262 w 9144000"/>
              <a:gd name="connsiteY7" fmla="*/ 508921 h 821830"/>
              <a:gd name="connsiteX8" fmla="*/ 0 w 9144000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982" h="821830">
                <a:close/>
                <a:moveTo>
                  <a:pt x="982" y="0"/>
                </a:moveTo>
                <a:lnTo>
                  <a:pt x="9144982" y="0"/>
                </a:lnTo>
                <a:lnTo>
                  <a:pt x="9144982" y="500742"/>
                </a:lnTo>
                <a:cubicBezTo>
                  <a:pt x="8989299" y="567439"/>
                  <a:pt x="8212622" y="908228"/>
                  <a:pt x="6896902" y="801187"/>
                </a:cubicBezTo>
                <a:cubicBezTo>
                  <a:pt x="5581182" y="694146"/>
                  <a:pt x="4812049" y="389809"/>
                  <a:pt x="3936712" y="372848"/>
                </a:cubicBezTo>
                <a:cubicBezTo>
                  <a:pt x="3061375" y="355887"/>
                  <a:pt x="2650524" y="615188"/>
                  <a:pt x="1644878" y="699421"/>
                </a:cubicBezTo>
                <a:cubicBezTo>
                  <a:pt x="1300425" y="734441"/>
                  <a:pt x="1145069" y="712052"/>
                  <a:pt x="854292" y="699422"/>
                </a:cubicBezTo>
                <a:cubicBezTo>
                  <a:pt x="591825" y="672964"/>
                  <a:pt x="142187" y="600298"/>
                  <a:pt x="0" y="532734"/>
                </a:cubicBezTo>
                <a:cubicBezTo>
                  <a:pt x="688" y="518351"/>
                  <a:pt x="2305" y="95038"/>
                  <a:pt x="982" y="0"/>
                </a:cubicBezTo>
              </a:path>
            </a:pathLst>
          </a:custGeom>
          <a:gradFill flip="none" rotWithShape="1">
            <a:gsLst>
              <a:gs pos="0">
                <a:srgbClr val="DBDBDB"/>
              </a:gs>
              <a:gs pos="78000">
                <a:srgbClr val="FFFFFF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7" name="Bild 8" descr="Logo-mit-Claim_Innenseit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242810" y="221897"/>
            <a:ext cx="121285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Freeform 12"/>
          <p:cNvSpPr>
            <a:spLocks/>
          </p:cNvSpPr>
          <p:nvPr userDrawn="1"/>
        </p:nvSpPr>
        <p:spPr bwMode="gray">
          <a:xfrm>
            <a:off x="-6350" y="255769"/>
            <a:ext cx="9154800" cy="712875"/>
          </a:xfrm>
          <a:custGeom>
            <a:avLst/>
            <a:gdLst>
              <a:gd name="T0" fmla="*/ 2880 w 2880"/>
              <a:gd name="T1" fmla="*/ 67 h 224"/>
              <a:gd name="T2" fmla="*/ 1955 w 2880"/>
              <a:gd name="T3" fmla="*/ 130 h 224"/>
              <a:gd name="T4" fmla="*/ 1212 w 2880"/>
              <a:gd name="T5" fmla="*/ 24 h 224"/>
              <a:gd name="T6" fmla="*/ 433 w 2880"/>
              <a:gd name="T7" fmla="*/ 137 h 224"/>
              <a:gd name="T8" fmla="*/ 0 w 2880"/>
              <a:gd name="T9" fmla="*/ 67 h 224"/>
              <a:gd name="T10" fmla="*/ 1 w 2880"/>
              <a:gd name="T11" fmla="*/ 96 h 224"/>
              <a:gd name="T12" fmla="*/ 753 w 2880"/>
              <a:gd name="T13" fmla="*/ 108 h 224"/>
              <a:gd name="T14" fmla="*/ 1561 w 2880"/>
              <a:gd name="T15" fmla="*/ 80 h 224"/>
              <a:gd name="T16" fmla="*/ 2022 w 2880"/>
              <a:gd name="T17" fmla="*/ 160 h 224"/>
              <a:gd name="T18" fmla="*/ 2880 w 2880"/>
              <a:gd name="T19" fmla="*/ 114 h 224"/>
              <a:gd name="T20" fmla="*/ 2880 w 2880"/>
              <a:gd name="T21" fmla="*/ 67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880" h="224">
                <a:moveTo>
                  <a:pt x="2880" y="67"/>
                </a:moveTo>
                <a:cubicBezTo>
                  <a:pt x="2737" y="127"/>
                  <a:pt x="2450" y="206"/>
                  <a:pt x="1955" y="130"/>
                </a:cubicBezTo>
                <a:cubicBezTo>
                  <a:pt x="1571" y="69"/>
                  <a:pt x="1424" y="24"/>
                  <a:pt x="1212" y="24"/>
                </a:cubicBezTo>
                <a:cubicBezTo>
                  <a:pt x="932" y="24"/>
                  <a:pt x="775" y="136"/>
                  <a:pt x="433" y="137"/>
                </a:cubicBezTo>
                <a:cubicBezTo>
                  <a:pt x="184" y="140"/>
                  <a:pt x="0" y="67"/>
                  <a:pt x="0" y="67"/>
                </a:cubicBezTo>
                <a:cubicBezTo>
                  <a:pt x="1" y="96"/>
                  <a:pt x="1" y="96"/>
                  <a:pt x="1" y="96"/>
                </a:cubicBezTo>
                <a:cubicBezTo>
                  <a:pt x="1" y="96"/>
                  <a:pt x="346" y="205"/>
                  <a:pt x="753" y="108"/>
                </a:cubicBezTo>
                <a:cubicBezTo>
                  <a:pt x="1208" y="0"/>
                  <a:pt x="1340" y="47"/>
                  <a:pt x="1561" y="80"/>
                </a:cubicBezTo>
                <a:cubicBezTo>
                  <a:pt x="1627" y="90"/>
                  <a:pt x="1869" y="140"/>
                  <a:pt x="2022" y="160"/>
                </a:cubicBezTo>
                <a:cubicBezTo>
                  <a:pt x="2514" y="224"/>
                  <a:pt x="2716" y="161"/>
                  <a:pt x="2880" y="114"/>
                </a:cubicBezTo>
                <a:cubicBezTo>
                  <a:pt x="2880" y="67"/>
                  <a:pt x="2880" y="67"/>
                  <a:pt x="2880" y="67"/>
                </a:cubicBezTo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charset="0"/>
            </a:endParaRPr>
          </a:p>
        </p:txBody>
      </p:sp>
      <p:sp>
        <p:nvSpPr>
          <p:cNvPr id="10" name="Rechteck 9"/>
          <p:cNvSpPr/>
          <p:nvPr userDrawn="1"/>
        </p:nvSpPr>
        <p:spPr>
          <a:xfrm>
            <a:off x="395287" y="6563666"/>
            <a:ext cx="317586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US" sz="900" dirty="0">
                <a:solidFill>
                  <a:srgbClr val="004179"/>
                </a:solidFill>
              </a:rPr>
              <a:t>© 2015 GELITA AG. Any copies need to be authorized by GELITA</a:t>
            </a:r>
          </a:p>
        </p:txBody>
      </p:sp>
    </p:spTree>
    <p:extLst>
      <p:ext uri="{BB962C8B-B14F-4D97-AF65-F5344CB8AC3E}">
        <p14:creationId xmlns:p14="http://schemas.microsoft.com/office/powerpoint/2010/main" val="1594512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 10" descr="Improving-Motiv-(Paar)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bgerundetes Rechteck 8"/>
          <p:cNvSpPr/>
          <p:nvPr userDrawn="1"/>
        </p:nvSpPr>
        <p:spPr bwMode="gray">
          <a:xfrm>
            <a:off x="395287" y="1769533"/>
            <a:ext cx="8353425" cy="4747202"/>
          </a:xfrm>
          <a:prstGeom prst="roundRect">
            <a:avLst>
              <a:gd name="adj" fmla="val 5468"/>
            </a:avLst>
          </a:prstGeom>
          <a:gradFill flip="none" rotWithShape="1">
            <a:gsLst>
              <a:gs pos="0">
                <a:schemeClr val="bg1">
                  <a:alpha val="25000"/>
                </a:schemeClr>
              </a:gs>
              <a:gs pos="20000">
                <a:srgbClr val="FFFFFF">
                  <a:alpha val="78000"/>
                </a:srgbClr>
              </a:gs>
              <a:gs pos="74000">
                <a:schemeClr val="bg1">
                  <a:alpha val="43000"/>
                </a:schemeClr>
              </a:gs>
              <a:gs pos="100000">
                <a:schemeClr val="bg1">
                  <a:alpha val="2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rgbClr val="29292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C7BD98F-CB44-460A-AB0F-B78530F77C65}" type="slidenum">
              <a:rPr lang="en-US">
                <a:solidFill>
                  <a:srgbClr val="004179"/>
                </a:solidFill>
              </a:rPr>
              <a:pPr/>
              <a:t>‹#›</a:t>
            </a:fld>
            <a:endParaRPr lang="en-US">
              <a:solidFill>
                <a:srgbClr val="004179"/>
              </a:solidFill>
            </a:endParaRPr>
          </a:p>
        </p:txBody>
      </p:sp>
      <p:sp>
        <p:nvSpPr>
          <p:cNvPr id="6" name="Rechteck 21"/>
          <p:cNvSpPr/>
          <p:nvPr userDrawn="1"/>
        </p:nvSpPr>
        <p:spPr bwMode="gray">
          <a:xfrm>
            <a:off x="0" y="0"/>
            <a:ext cx="9144982" cy="821830"/>
          </a:xfrm>
          <a:custGeom>
            <a:avLst/>
            <a:gdLst>
              <a:gd name="connsiteX0" fmla="*/ 0 w 9144000"/>
              <a:gd name="connsiteY0" fmla="*/ 394689 h 1011420"/>
              <a:gd name="connsiteX1" fmla="*/ 2306652 w 9144000"/>
              <a:gd name="connsiteY1" fmla="*/ 629718 h 1011420"/>
              <a:gd name="connsiteX2" fmla="*/ 5178847 w 9144000"/>
              <a:gd name="connsiteY2" fmla="*/ 639246 h 1011420"/>
              <a:gd name="connsiteX3" fmla="*/ 9144000 w 9144000"/>
              <a:gd name="connsiteY3" fmla="*/ 664654 h 1011420"/>
              <a:gd name="connsiteX4" fmla="*/ 9144000 w 9144000"/>
              <a:gd name="connsiteY4" fmla="*/ 1011420 h 1011420"/>
              <a:gd name="connsiteX5" fmla="*/ 0 w 9144000"/>
              <a:gd name="connsiteY5" fmla="*/ 1011420 h 1011420"/>
              <a:gd name="connsiteX6" fmla="*/ 0 w 9144000"/>
              <a:gd name="connsiteY6" fmla="*/ 394689 h 1011420"/>
              <a:gd name="connsiteX7" fmla="*/ 0 w 9144000"/>
              <a:gd name="connsiteY7" fmla="*/ 0 h 1011420"/>
              <a:gd name="connsiteX8" fmla="*/ 9144000 w 9144000"/>
              <a:gd name="connsiteY8" fmla="*/ 0 h 1011420"/>
              <a:gd name="connsiteX9" fmla="*/ 9144000 w 9144000"/>
              <a:gd name="connsiteY9" fmla="*/ 416922 h 1011420"/>
              <a:gd name="connsiteX10" fmla="*/ 6141540 w 9144000"/>
              <a:gd name="connsiteY10" fmla="*/ 686887 h 1011420"/>
              <a:gd name="connsiteX11" fmla="*/ 3812648 w 9144000"/>
              <a:gd name="connsiteY11" fmla="*/ 286703 h 1011420"/>
              <a:gd name="connsiteX12" fmla="*/ 1375730 w 9144000"/>
              <a:gd name="connsiteY12" fmla="*/ 642422 h 1011420"/>
              <a:gd name="connsiteX13" fmla="*/ 0 w 9144000"/>
              <a:gd name="connsiteY13" fmla="*/ 394689 h 1011420"/>
              <a:gd name="connsiteX14" fmla="*/ 0 w 9144000"/>
              <a:gd name="connsiteY14" fmla="*/ 0 h 1011420"/>
              <a:gd name="connsiteX0" fmla="*/ 0 w 9144000"/>
              <a:gd name="connsiteY0" fmla="*/ 394689 h 1011420"/>
              <a:gd name="connsiteX1" fmla="*/ 2306652 w 9144000"/>
              <a:gd name="connsiteY1" fmla="*/ 629718 h 1011420"/>
              <a:gd name="connsiteX2" fmla="*/ 5178847 w 9144000"/>
              <a:gd name="connsiteY2" fmla="*/ 639246 h 1011420"/>
              <a:gd name="connsiteX3" fmla="*/ 9144000 w 9144000"/>
              <a:gd name="connsiteY3" fmla="*/ 664654 h 1011420"/>
              <a:gd name="connsiteX4" fmla="*/ 9144000 w 9144000"/>
              <a:gd name="connsiteY4" fmla="*/ 1011420 h 1011420"/>
              <a:gd name="connsiteX5" fmla="*/ 0 w 9144000"/>
              <a:gd name="connsiteY5" fmla="*/ 394689 h 1011420"/>
              <a:gd name="connsiteX6" fmla="*/ 0 w 9144000"/>
              <a:gd name="connsiteY6" fmla="*/ 0 h 1011420"/>
              <a:gd name="connsiteX7" fmla="*/ 9144000 w 9144000"/>
              <a:gd name="connsiteY7" fmla="*/ 0 h 1011420"/>
              <a:gd name="connsiteX8" fmla="*/ 9144000 w 9144000"/>
              <a:gd name="connsiteY8" fmla="*/ 416922 h 1011420"/>
              <a:gd name="connsiteX9" fmla="*/ 6141540 w 9144000"/>
              <a:gd name="connsiteY9" fmla="*/ 686887 h 1011420"/>
              <a:gd name="connsiteX10" fmla="*/ 3812648 w 9144000"/>
              <a:gd name="connsiteY10" fmla="*/ 286703 h 1011420"/>
              <a:gd name="connsiteX11" fmla="*/ 1375730 w 9144000"/>
              <a:gd name="connsiteY11" fmla="*/ 642422 h 1011420"/>
              <a:gd name="connsiteX12" fmla="*/ 0 w 9144000"/>
              <a:gd name="connsiteY12" fmla="*/ 394689 h 1011420"/>
              <a:gd name="connsiteX13" fmla="*/ 0 w 9144000"/>
              <a:gd name="connsiteY13" fmla="*/ 0 h 1011420"/>
              <a:gd name="connsiteX0" fmla="*/ 0 w 9144000"/>
              <a:gd name="connsiteY0" fmla="*/ 394689 h 950210"/>
              <a:gd name="connsiteX1" fmla="*/ 2306652 w 9144000"/>
              <a:gd name="connsiteY1" fmla="*/ 629718 h 950210"/>
              <a:gd name="connsiteX2" fmla="*/ 5178847 w 9144000"/>
              <a:gd name="connsiteY2" fmla="*/ 639246 h 950210"/>
              <a:gd name="connsiteX3" fmla="*/ 9144000 w 9144000"/>
              <a:gd name="connsiteY3" fmla="*/ 664654 h 950210"/>
              <a:gd name="connsiteX4" fmla="*/ 0 w 9144000"/>
              <a:gd name="connsiteY4" fmla="*/ 394689 h 950210"/>
              <a:gd name="connsiteX5" fmla="*/ 0 w 9144000"/>
              <a:gd name="connsiteY5" fmla="*/ 0 h 950210"/>
              <a:gd name="connsiteX6" fmla="*/ 9144000 w 9144000"/>
              <a:gd name="connsiteY6" fmla="*/ 0 h 950210"/>
              <a:gd name="connsiteX7" fmla="*/ 9144000 w 9144000"/>
              <a:gd name="connsiteY7" fmla="*/ 416922 h 950210"/>
              <a:gd name="connsiteX8" fmla="*/ 6141540 w 9144000"/>
              <a:gd name="connsiteY8" fmla="*/ 686887 h 950210"/>
              <a:gd name="connsiteX9" fmla="*/ 3812648 w 9144000"/>
              <a:gd name="connsiteY9" fmla="*/ 286703 h 950210"/>
              <a:gd name="connsiteX10" fmla="*/ 1375730 w 9144000"/>
              <a:gd name="connsiteY10" fmla="*/ 642422 h 950210"/>
              <a:gd name="connsiteX11" fmla="*/ 0 w 9144000"/>
              <a:gd name="connsiteY11" fmla="*/ 394689 h 950210"/>
              <a:gd name="connsiteX12" fmla="*/ 0 w 9144000"/>
              <a:gd name="connsiteY12" fmla="*/ 0 h 950210"/>
              <a:gd name="connsiteX0" fmla="*/ 0 w 9144000"/>
              <a:gd name="connsiteY0" fmla="*/ 394689 h 766858"/>
              <a:gd name="connsiteX1" fmla="*/ 2306652 w 9144000"/>
              <a:gd name="connsiteY1" fmla="*/ 629718 h 766858"/>
              <a:gd name="connsiteX2" fmla="*/ 5178847 w 9144000"/>
              <a:gd name="connsiteY2" fmla="*/ 639246 h 766858"/>
              <a:gd name="connsiteX3" fmla="*/ 0 w 9144000"/>
              <a:gd name="connsiteY3" fmla="*/ 394689 h 766858"/>
              <a:gd name="connsiteX4" fmla="*/ 0 w 9144000"/>
              <a:gd name="connsiteY4" fmla="*/ 0 h 766858"/>
              <a:gd name="connsiteX5" fmla="*/ 9144000 w 9144000"/>
              <a:gd name="connsiteY5" fmla="*/ 0 h 766858"/>
              <a:gd name="connsiteX6" fmla="*/ 9144000 w 9144000"/>
              <a:gd name="connsiteY6" fmla="*/ 416922 h 766858"/>
              <a:gd name="connsiteX7" fmla="*/ 6141540 w 9144000"/>
              <a:gd name="connsiteY7" fmla="*/ 686887 h 766858"/>
              <a:gd name="connsiteX8" fmla="*/ 3812648 w 9144000"/>
              <a:gd name="connsiteY8" fmla="*/ 286703 h 766858"/>
              <a:gd name="connsiteX9" fmla="*/ 1375730 w 9144000"/>
              <a:gd name="connsiteY9" fmla="*/ 642422 h 766858"/>
              <a:gd name="connsiteX10" fmla="*/ 0 w 9144000"/>
              <a:gd name="connsiteY10" fmla="*/ 394689 h 766858"/>
              <a:gd name="connsiteX11" fmla="*/ 0 w 9144000"/>
              <a:gd name="connsiteY11" fmla="*/ 0 h 766858"/>
              <a:gd name="connsiteX0" fmla="*/ 0 w 9144000"/>
              <a:gd name="connsiteY0" fmla="*/ 0 h 766858"/>
              <a:gd name="connsiteX1" fmla="*/ 9144000 w 9144000"/>
              <a:gd name="connsiteY1" fmla="*/ 0 h 766858"/>
              <a:gd name="connsiteX2" fmla="*/ 9144000 w 9144000"/>
              <a:gd name="connsiteY2" fmla="*/ 416922 h 766858"/>
              <a:gd name="connsiteX3" fmla="*/ 6141540 w 9144000"/>
              <a:gd name="connsiteY3" fmla="*/ 686887 h 766858"/>
              <a:gd name="connsiteX4" fmla="*/ 3812648 w 9144000"/>
              <a:gd name="connsiteY4" fmla="*/ 286703 h 766858"/>
              <a:gd name="connsiteX5" fmla="*/ 1375730 w 9144000"/>
              <a:gd name="connsiteY5" fmla="*/ 642422 h 766858"/>
              <a:gd name="connsiteX6" fmla="*/ 0 w 9144000"/>
              <a:gd name="connsiteY6" fmla="*/ 394689 h 766858"/>
              <a:gd name="connsiteX7" fmla="*/ 0 w 9144000"/>
              <a:gd name="connsiteY7" fmla="*/ 0 h 766858"/>
              <a:gd name="connsiteX8" fmla="*/ 2398092 w 9144000"/>
              <a:gd name="connsiteY8" fmla="*/ 721158 h 766858"/>
              <a:gd name="connsiteX0" fmla="*/ 0 w 9144000"/>
              <a:gd name="connsiteY0" fmla="*/ 0 h 766858"/>
              <a:gd name="connsiteX1" fmla="*/ 9144000 w 9144000"/>
              <a:gd name="connsiteY1" fmla="*/ 0 h 766858"/>
              <a:gd name="connsiteX2" fmla="*/ 9144000 w 9144000"/>
              <a:gd name="connsiteY2" fmla="*/ 416922 h 766858"/>
              <a:gd name="connsiteX3" fmla="*/ 6141540 w 9144000"/>
              <a:gd name="connsiteY3" fmla="*/ 686887 h 766858"/>
              <a:gd name="connsiteX4" fmla="*/ 3812648 w 9144000"/>
              <a:gd name="connsiteY4" fmla="*/ 286703 h 766858"/>
              <a:gd name="connsiteX5" fmla="*/ 1375730 w 9144000"/>
              <a:gd name="connsiteY5" fmla="*/ 642422 h 766858"/>
              <a:gd name="connsiteX6" fmla="*/ 0 w 9144000"/>
              <a:gd name="connsiteY6" fmla="*/ 394689 h 766858"/>
              <a:gd name="connsiteX7" fmla="*/ 0 w 9144000"/>
              <a:gd name="connsiteY7" fmla="*/ 0 h 766858"/>
              <a:gd name="connsiteX0" fmla="*/ 0 w 9144000"/>
              <a:gd name="connsiteY0" fmla="*/ 0 h 692144"/>
              <a:gd name="connsiteX1" fmla="*/ 9144000 w 9144000"/>
              <a:gd name="connsiteY1" fmla="*/ 0 h 692144"/>
              <a:gd name="connsiteX2" fmla="*/ 9144000 w 9144000"/>
              <a:gd name="connsiteY2" fmla="*/ 500742 h 692144"/>
              <a:gd name="connsiteX3" fmla="*/ 6141540 w 9144000"/>
              <a:gd name="connsiteY3" fmla="*/ 686887 h 692144"/>
              <a:gd name="connsiteX4" fmla="*/ 3812648 w 9144000"/>
              <a:gd name="connsiteY4" fmla="*/ 286703 h 692144"/>
              <a:gd name="connsiteX5" fmla="*/ 1375730 w 9144000"/>
              <a:gd name="connsiteY5" fmla="*/ 642422 h 692144"/>
              <a:gd name="connsiteX6" fmla="*/ 0 w 9144000"/>
              <a:gd name="connsiteY6" fmla="*/ 394689 h 692144"/>
              <a:gd name="connsiteX7" fmla="*/ 0 w 9144000"/>
              <a:gd name="connsiteY7" fmla="*/ 0 h 692144"/>
              <a:gd name="connsiteX0" fmla="*/ 0 w 9144000"/>
              <a:gd name="connsiteY0" fmla="*/ 0 h 804424"/>
              <a:gd name="connsiteX1" fmla="*/ 9144000 w 9144000"/>
              <a:gd name="connsiteY1" fmla="*/ 0 h 804424"/>
              <a:gd name="connsiteX2" fmla="*/ 9144000 w 9144000"/>
              <a:gd name="connsiteY2" fmla="*/ 500742 h 804424"/>
              <a:gd name="connsiteX3" fmla="*/ 6895920 w 9144000"/>
              <a:gd name="connsiteY3" fmla="*/ 801187 h 804424"/>
              <a:gd name="connsiteX4" fmla="*/ 3812648 w 9144000"/>
              <a:gd name="connsiteY4" fmla="*/ 286703 h 804424"/>
              <a:gd name="connsiteX5" fmla="*/ 1375730 w 9144000"/>
              <a:gd name="connsiteY5" fmla="*/ 642422 h 804424"/>
              <a:gd name="connsiteX6" fmla="*/ 0 w 9144000"/>
              <a:gd name="connsiteY6" fmla="*/ 394689 h 804424"/>
              <a:gd name="connsiteX7" fmla="*/ 0 w 9144000"/>
              <a:gd name="connsiteY7" fmla="*/ 0 h 804424"/>
              <a:gd name="connsiteX0" fmla="*/ 0 w 9144000"/>
              <a:gd name="connsiteY0" fmla="*/ 0 h 802352"/>
              <a:gd name="connsiteX1" fmla="*/ 9144000 w 9144000"/>
              <a:gd name="connsiteY1" fmla="*/ 0 h 802352"/>
              <a:gd name="connsiteX2" fmla="*/ 9144000 w 9144000"/>
              <a:gd name="connsiteY2" fmla="*/ 500742 h 802352"/>
              <a:gd name="connsiteX3" fmla="*/ 6895920 w 9144000"/>
              <a:gd name="connsiteY3" fmla="*/ 801187 h 802352"/>
              <a:gd name="connsiteX4" fmla="*/ 3812648 w 9144000"/>
              <a:gd name="connsiteY4" fmla="*/ 286703 h 802352"/>
              <a:gd name="connsiteX5" fmla="*/ 1375730 w 9144000"/>
              <a:gd name="connsiteY5" fmla="*/ 642422 h 802352"/>
              <a:gd name="connsiteX6" fmla="*/ 0 w 9144000"/>
              <a:gd name="connsiteY6" fmla="*/ 394689 h 802352"/>
              <a:gd name="connsiteX7" fmla="*/ 0 w 9144000"/>
              <a:gd name="connsiteY7" fmla="*/ 0 h 80235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75730 w 9144000"/>
              <a:gd name="connsiteY5" fmla="*/ 642422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86840 w 9144000"/>
              <a:gd name="connsiteY5" fmla="*/ 553974 h 805292"/>
              <a:gd name="connsiteX6" fmla="*/ 1375730 w 9144000"/>
              <a:gd name="connsiteY6" fmla="*/ 642422 h 805292"/>
              <a:gd name="connsiteX7" fmla="*/ 0 w 9144000"/>
              <a:gd name="connsiteY7" fmla="*/ 394689 h 805292"/>
              <a:gd name="connsiteX8" fmla="*/ 0 w 9144000"/>
              <a:gd name="connsiteY8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86840 w 9144000"/>
              <a:gd name="connsiteY5" fmla="*/ 55397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432560 w 9144000"/>
              <a:gd name="connsiteY5" fmla="*/ 57683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432560 w 9144000"/>
              <a:gd name="connsiteY5" fmla="*/ 57683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992"/>
              <a:gd name="connsiteX1" fmla="*/ 9144000 w 9144000"/>
              <a:gd name="connsiteY1" fmla="*/ 0 h 805992"/>
              <a:gd name="connsiteX2" fmla="*/ 9144000 w 9144000"/>
              <a:gd name="connsiteY2" fmla="*/ 500742 h 805992"/>
              <a:gd name="connsiteX3" fmla="*/ 6895920 w 9144000"/>
              <a:gd name="connsiteY3" fmla="*/ 801187 h 805992"/>
              <a:gd name="connsiteX4" fmla="*/ 3865988 w 9144000"/>
              <a:gd name="connsiteY4" fmla="*/ 233363 h 805992"/>
              <a:gd name="connsiteX5" fmla="*/ 1432560 w 9144000"/>
              <a:gd name="connsiteY5" fmla="*/ 576834 h 805992"/>
              <a:gd name="connsiteX6" fmla="*/ 0 w 9144000"/>
              <a:gd name="connsiteY6" fmla="*/ 394689 h 805992"/>
              <a:gd name="connsiteX7" fmla="*/ 0 w 9144000"/>
              <a:gd name="connsiteY7" fmla="*/ 0 h 805992"/>
              <a:gd name="connsiteX0" fmla="*/ 0 w 9144000"/>
              <a:gd name="connsiteY0" fmla="*/ 0 h 805992"/>
              <a:gd name="connsiteX1" fmla="*/ 9144000 w 9144000"/>
              <a:gd name="connsiteY1" fmla="*/ 0 h 805992"/>
              <a:gd name="connsiteX2" fmla="*/ 9144000 w 9144000"/>
              <a:gd name="connsiteY2" fmla="*/ 500742 h 805992"/>
              <a:gd name="connsiteX3" fmla="*/ 6895920 w 9144000"/>
              <a:gd name="connsiteY3" fmla="*/ 801187 h 805992"/>
              <a:gd name="connsiteX4" fmla="*/ 3865988 w 9144000"/>
              <a:gd name="connsiteY4" fmla="*/ 233363 h 805992"/>
              <a:gd name="connsiteX5" fmla="*/ 1432560 w 9144000"/>
              <a:gd name="connsiteY5" fmla="*/ 576834 h 805992"/>
              <a:gd name="connsiteX6" fmla="*/ 0 w 9144000"/>
              <a:gd name="connsiteY6" fmla="*/ 394689 h 805992"/>
              <a:gd name="connsiteX7" fmla="*/ 0 w 9144000"/>
              <a:gd name="connsiteY7" fmla="*/ 0 h 805992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390650 w 9144000"/>
              <a:gd name="connsiteY5" fmla="*/ 627634 h 810959"/>
              <a:gd name="connsiteX6" fmla="*/ 1432560 w 9144000"/>
              <a:gd name="connsiteY6" fmla="*/ 57683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390650 w 9144000"/>
              <a:gd name="connsiteY5" fmla="*/ 62763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25600 w 9144000"/>
              <a:gd name="connsiteY5" fmla="*/ 6212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48046 w 9192046"/>
              <a:gd name="connsiteY0" fmla="*/ 0 h 810959"/>
              <a:gd name="connsiteX1" fmla="*/ 9192046 w 9192046"/>
              <a:gd name="connsiteY1" fmla="*/ 0 h 810959"/>
              <a:gd name="connsiteX2" fmla="*/ 9192046 w 9192046"/>
              <a:gd name="connsiteY2" fmla="*/ 500742 h 810959"/>
              <a:gd name="connsiteX3" fmla="*/ 6943966 w 9192046"/>
              <a:gd name="connsiteY3" fmla="*/ 801187 h 810959"/>
              <a:gd name="connsiteX4" fmla="*/ 3914034 w 9192046"/>
              <a:gd name="connsiteY4" fmla="*/ 233363 h 810959"/>
              <a:gd name="connsiteX5" fmla="*/ 1673646 w 9192046"/>
              <a:gd name="connsiteY5" fmla="*/ 621284 h 810959"/>
              <a:gd name="connsiteX6" fmla="*/ 915456 w 9192046"/>
              <a:gd name="connsiteY6" fmla="*/ 633984 h 810959"/>
              <a:gd name="connsiteX7" fmla="*/ 54396 w 9192046"/>
              <a:gd name="connsiteY7" fmla="*/ 456184 h 810959"/>
              <a:gd name="connsiteX8" fmla="*/ 79796 w 9192046"/>
              <a:gd name="connsiteY8" fmla="*/ 458189 h 810959"/>
              <a:gd name="connsiteX9" fmla="*/ 48046 w 9192046"/>
              <a:gd name="connsiteY9" fmla="*/ 0 h 810959"/>
              <a:gd name="connsiteX0" fmla="*/ 59284 w 9203284"/>
              <a:gd name="connsiteY0" fmla="*/ 0 h 810959"/>
              <a:gd name="connsiteX1" fmla="*/ 9203284 w 9203284"/>
              <a:gd name="connsiteY1" fmla="*/ 0 h 810959"/>
              <a:gd name="connsiteX2" fmla="*/ 9203284 w 9203284"/>
              <a:gd name="connsiteY2" fmla="*/ 500742 h 810959"/>
              <a:gd name="connsiteX3" fmla="*/ 6955204 w 9203284"/>
              <a:gd name="connsiteY3" fmla="*/ 801187 h 810959"/>
              <a:gd name="connsiteX4" fmla="*/ 3925272 w 9203284"/>
              <a:gd name="connsiteY4" fmla="*/ 233363 h 810959"/>
              <a:gd name="connsiteX5" fmla="*/ 1684884 w 9203284"/>
              <a:gd name="connsiteY5" fmla="*/ 621284 h 810959"/>
              <a:gd name="connsiteX6" fmla="*/ 926694 w 9203284"/>
              <a:gd name="connsiteY6" fmla="*/ 633984 h 810959"/>
              <a:gd name="connsiteX7" fmla="*/ 65634 w 9203284"/>
              <a:gd name="connsiteY7" fmla="*/ 456184 h 810959"/>
              <a:gd name="connsiteX8" fmla="*/ 59284 w 9203284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25600 w 9144000"/>
              <a:gd name="connsiteY5" fmla="*/ 621284 h 810959"/>
              <a:gd name="connsiteX6" fmla="*/ 867410 w 9144000"/>
              <a:gd name="connsiteY6" fmla="*/ 633984 h 810959"/>
              <a:gd name="connsiteX7" fmla="*/ 6350 w 9144000"/>
              <a:gd name="connsiteY7" fmla="*/ 456184 h 810959"/>
              <a:gd name="connsiteX8" fmla="*/ 0 w 9144000"/>
              <a:gd name="connsiteY8" fmla="*/ 0 h 810959"/>
              <a:gd name="connsiteX0" fmla="*/ 19050 w 9163050"/>
              <a:gd name="connsiteY0" fmla="*/ 0 h 810959"/>
              <a:gd name="connsiteX1" fmla="*/ 9163050 w 9163050"/>
              <a:gd name="connsiteY1" fmla="*/ 0 h 810959"/>
              <a:gd name="connsiteX2" fmla="*/ 9163050 w 9163050"/>
              <a:gd name="connsiteY2" fmla="*/ 500742 h 810959"/>
              <a:gd name="connsiteX3" fmla="*/ 6914970 w 9163050"/>
              <a:gd name="connsiteY3" fmla="*/ 801187 h 810959"/>
              <a:gd name="connsiteX4" fmla="*/ 3885038 w 9163050"/>
              <a:gd name="connsiteY4" fmla="*/ 233363 h 810959"/>
              <a:gd name="connsiteX5" fmla="*/ 1644650 w 9163050"/>
              <a:gd name="connsiteY5" fmla="*/ 621284 h 810959"/>
              <a:gd name="connsiteX6" fmla="*/ 886460 w 9163050"/>
              <a:gd name="connsiteY6" fmla="*/ 633984 h 810959"/>
              <a:gd name="connsiteX7" fmla="*/ 0 w 9163050"/>
              <a:gd name="connsiteY7" fmla="*/ 449834 h 810959"/>
              <a:gd name="connsiteX8" fmla="*/ 19050 w 91630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31950 w 9150350"/>
              <a:gd name="connsiteY5" fmla="*/ 621284 h 810959"/>
              <a:gd name="connsiteX6" fmla="*/ 873760 w 9150350"/>
              <a:gd name="connsiteY6" fmla="*/ 6339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31950 w 9150350"/>
              <a:gd name="connsiteY5" fmla="*/ 6212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19250 w 9150350"/>
              <a:gd name="connsiteY5" fmla="*/ 5831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19250 w 9150350"/>
              <a:gd name="connsiteY5" fmla="*/ 5831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19250 w 9150350"/>
              <a:gd name="connsiteY5" fmla="*/ 583184 h 802448"/>
              <a:gd name="connsiteX6" fmla="*/ 867410 w 9150350"/>
              <a:gd name="connsiteY6" fmla="*/ 583184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50246 w 9150350"/>
              <a:gd name="connsiteY5" fmla="*/ 699421 h 802448"/>
              <a:gd name="connsiteX6" fmla="*/ 867410 w 9150350"/>
              <a:gd name="connsiteY6" fmla="*/ 583184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50246 w 9150350"/>
              <a:gd name="connsiteY5" fmla="*/ 699421 h 802448"/>
              <a:gd name="connsiteX6" fmla="*/ 859660 w 9150350"/>
              <a:gd name="connsiteY6" fmla="*/ 699422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16313"/>
              <a:gd name="connsiteX1" fmla="*/ 9144000 w 9144000"/>
              <a:gd name="connsiteY1" fmla="*/ 0 h 816313"/>
              <a:gd name="connsiteX2" fmla="*/ 9144000 w 9144000"/>
              <a:gd name="connsiteY2" fmla="*/ 500742 h 816313"/>
              <a:gd name="connsiteX3" fmla="*/ 6895920 w 9144000"/>
              <a:gd name="connsiteY3" fmla="*/ 801187 h 816313"/>
              <a:gd name="connsiteX4" fmla="*/ 3935730 w 9144000"/>
              <a:gd name="connsiteY4" fmla="*/ 372848 h 816313"/>
              <a:gd name="connsiteX5" fmla="*/ 1643896 w 9144000"/>
              <a:gd name="connsiteY5" fmla="*/ 699421 h 816313"/>
              <a:gd name="connsiteX6" fmla="*/ 853310 w 9144000"/>
              <a:gd name="connsiteY6" fmla="*/ 699422 h 816313"/>
              <a:gd name="connsiteX7" fmla="*/ 1399 w 9144000"/>
              <a:gd name="connsiteY7" fmla="*/ 508921 h 816313"/>
              <a:gd name="connsiteX8" fmla="*/ 0 w 9144000"/>
              <a:gd name="connsiteY8" fmla="*/ 0 h 816313"/>
              <a:gd name="connsiteX0" fmla="*/ 0 w 9144000"/>
              <a:gd name="connsiteY0" fmla="*/ 0 h 821830"/>
              <a:gd name="connsiteX1" fmla="*/ 9144000 w 9144000"/>
              <a:gd name="connsiteY1" fmla="*/ 0 h 821830"/>
              <a:gd name="connsiteX2" fmla="*/ 9144000 w 9144000"/>
              <a:gd name="connsiteY2" fmla="*/ 500742 h 821830"/>
              <a:gd name="connsiteX3" fmla="*/ 6895920 w 9144000"/>
              <a:gd name="connsiteY3" fmla="*/ 801187 h 821830"/>
              <a:gd name="connsiteX4" fmla="*/ 3935730 w 9144000"/>
              <a:gd name="connsiteY4" fmla="*/ 372848 h 821830"/>
              <a:gd name="connsiteX5" fmla="*/ 1643896 w 9144000"/>
              <a:gd name="connsiteY5" fmla="*/ 699421 h 821830"/>
              <a:gd name="connsiteX6" fmla="*/ 853310 w 9144000"/>
              <a:gd name="connsiteY6" fmla="*/ 699422 h 821830"/>
              <a:gd name="connsiteX7" fmla="*/ 1399 w 9144000"/>
              <a:gd name="connsiteY7" fmla="*/ 508921 h 821830"/>
              <a:gd name="connsiteX8" fmla="*/ 0 w 9144000"/>
              <a:gd name="connsiteY8" fmla="*/ 0 h 821830"/>
              <a:gd name="connsiteX0" fmla="*/ 5745 w 9149745"/>
              <a:gd name="connsiteY0" fmla="*/ 0 h 821830"/>
              <a:gd name="connsiteX1" fmla="*/ 9149745 w 9149745"/>
              <a:gd name="connsiteY1" fmla="*/ 0 h 821830"/>
              <a:gd name="connsiteX2" fmla="*/ 9149745 w 9149745"/>
              <a:gd name="connsiteY2" fmla="*/ 500742 h 821830"/>
              <a:gd name="connsiteX3" fmla="*/ 6901665 w 9149745"/>
              <a:gd name="connsiteY3" fmla="*/ 801187 h 821830"/>
              <a:gd name="connsiteX4" fmla="*/ 3941475 w 9149745"/>
              <a:gd name="connsiteY4" fmla="*/ 372848 h 821830"/>
              <a:gd name="connsiteX5" fmla="*/ 1649641 w 9149745"/>
              <a:gd name="connsiteY5" fmla="*/ 699421 h 821830"/>
              <a:gd name="connsiteX6" fmla="*/ 859055 w 9149745"/>
              <a:gd name="connsiteY6" fmla="*/ 699422 h 821830"/>
              <a:gd name="connsiteX7" fmla="*/ 0 w 9149745"/>
              <a:gd name="connsiteY7" fmla="*/ 516065 h 821830"/>
              <a:gd name="connsiteX8" fmla="*/ 5745 w 9149745"/>
              <a:gd name="connsiteY8" fmla="*/ 0 h 821830"/>
              <a:gd name="connsiteX0" fmla="*/ 5745 w 9149745"/>
              <a:gd name="connsiteY0" fmla="*/ 0 h 821830"/>
              <a:gd name="connsiteX1" fmla="*/ 9149745 w 9149745"/>
              <a:gd name="connsiteY1" fmla="*/ 0 h 821830"/>
              <a:gd name="connsiteX2" fmla="*/ 9149745 w 9149745"/>
              <a:gd name="connsiteY2" fmla="*/ 500742 h 821830"/>
              <a:gd name="connsiteX3" fmla="*/ 6901665 w 9149745"/>
              <a:gd name="connsiteY3" fmla="*/ 801187 h 821830"/>
              <a:gd name="connsiteX4" fmla="*/ 3941475 w 9149745"/>
              <a:gd name="connsiteY4" fmla="*/ 372848 h 821830"/>
              <a:gd name="connsiteX5" fmla="*/ 1649641 w 9149745"/>
              <a:gd name="connsiteY5" fmla="*/ 699421 h 821830"/>
              <a:gd name="connsiteX6" fmla="*/ 859055 w 9149745"/>
              <a:gd name="connsiteY6" fmla="*/ 699422 h 821830"/>
              <a:gd name="connsiteX7" fmla="*/ 0 w 9149745"/>
              <a:gd name="connsiteY7" fmla="*/ 516065 h 821830"/>
              <a:gd name="connsiteX8" fmla="*/ 5745 w 9149745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16065 h 821830"/>
              <a:gd name="connsiteX8" fmla="*/ 3364 w 9147364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27971 h 821830"/>
              <a:gd name="connsiteX8" fmla="*/ 3364 w 9147364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27971 h 821830"/>
              <a:gd name="connsiteX8" fmla="*/ 3364 w 9147364"/>
              <a:gd name="connsiteY8" fmla="*/ 0 h 821830"/>
              <a:gd name="connsiteX0" fmla="*/ 0 w 9144000"/>
              <a:gd name="connsiteY0" fmla="*/ 0 h 821830"/>
              <a:gd name="connsiteX1" fmla="*/ 9144000 w 9144000"/>
              <a:gd name="connsiteY1" fmla="*/ 0 h 821830"/>
              <a:gd name="connsiteX2" fmla="*/ 9144000 w 9144000"/>
              <a:gd name="connsiteY2" fmla="*/ 500742 h 821830"/>
              <a:gd name="connsiteX3" fmla="*/ 6895920 w 9144000"/>
              <a:gd name="connsiteY3" fmla="*/ 801187 h 821830"/>
              <a:gd name="connsiteX4" fmla="*/ 3935730 w 9144000"/>
              <a:gd name="connsiteY4" fmla="*/ 372848 h 821830"/>
              <a:gd name="connsiteX5" fmla="*/ 1643896 w 9144000"/>
              <a:gd name="connsiteY5" fmla="*/ 699421 h 821830"/>
              <a:gd name="connsiteX6" fmla="*/ 853310 w 9144000"/>
              <a:gd name="connsiteY6" fmla="*/ 699422 h 821830"/>
              <a:gd name="connsiteX7" fmla="*/ 44262 w 9144000"/>
              <a:gd name="connsiteY7" fmla="*/ 508921 h 821830"/>
              <a:gd name="connsiteX8" fmla="*/ 0 w 9144000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982" h="821830">
                <a:close/>
                <a:moveTo>
                  <a:pt x="982" y="0"/>
                </a:moveTo>
                <a:lnTo>
                  <a:pt x="9144982" y="0"/>
                </a:lnTo>
                <a:lnTo>
                  <a:pt x="9144982" y="500742"/>
                </a:lnTo>
                <a:cubicBezTo>
                  <a:pt x="8989299" y="567439"/>
                  <a:pt x="8212622" y="908228"/>
                  <a:pt x="6896902" y="801187"/>
                </a:cubicBezTo>
                <a:cubicBezTo>
                  <a:pt x="5581182" y="694146"/>
                  <a:pt x="4812049" y="389809"/>
                  <a:pt x="3936712" y="372848"/>
                </a:cubicBezTo>
                <a:cubicBezTo>
                  <a:pt x="3061375" y="355887"/>
                  <a:pt x="2650524" y="615188"/>
                  <a:pt x="1644878" y="699421"/>
                </a:cubicBezTo>
                <a:cubicBezTo>
                  <a:pt x="1300425" y="734441"/>
                  <a:pt x="1145069" y="712052"/>
                  <a:pt x="854292" y="699422"/>
                </a:cubicBezTo>
                <a:cubicBezTo>
                  <a:pt x="591825" y="672964"/>
                  <a:pt x="142187" y="600298"/>
                  <a:pt x="0" y="532734"/>
                </a:cubicBezTo>
                <a:cubicBezTo>
                  <a:pt x="688" y="518351"/>
                  <a:pt x="2305" y="95038"/>
                  <a:pt x="982" y="0"/>
                </a:cubicBezTo>
              </a:path>
            </a:pathLst>
          </a:custGeom>
          <a:gradFill flip="none" rotWithShape="1">
            <a:gsLst>
              <a:gs pos="0">
                <a:srgbClr val="DBDBDB"/>
              </a:gs>
              <a:gs pos="78000">
                <a:srgbClr val="FFFFFF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7" name="Bild 8" descr="Logo-mit-Claim_Innenseit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242810" y="221897"/>
            <a:ext cx="121285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Freeform 12"/>
          <p:cNvSpPr>
            <a:spLocks/>
          </p:cNvSpPr>
          <p:nvPr userDrawn="1"/>
        </p:nvSpPr>
        <p:spPr bwMode="gray">
          <a:xfrm>
            <a:off x="-6350" y="255769"/>
            <a:ext cx="9154800" cy="712875"/>
          </a:xfrm>
          <a:custGeom>
            <a:avLst/>
            <a:gdLst>
              <a:gd name="T0" fmla="*/ 2880 w 2880"/>
              <a:gd name="T1" fmla="*/ 67 h 224"/>
              <a:gd name="T2" fmla="*/ 1955 w 2880"/>
              <a:gd name="T3" fmla="*/ 130 h 224"/>
              <a:gd name="T4" fmla="*/ 1212 w 2880"/>
              <a:gd name="T5" fmla="*/ 24 h 224"/>
              <a:gd name="T6" fmla="*/ 433 w 2880"/>
              <a:gd name="T7" fmla="*/ 137 h 224"/>
              <a:gd name="T8" fmla="*/ 0 w 2880"/>
              <a:gd name="T9" fmla="*/ 67 h 224"/>
              <a:gd name="T10" fmla="*/ 1 w 2880"/>
              <a:gd name="T11" fmla="*/ 96 h 224"/>
              <a:gd name="T12" fmla="*/ 753 w 2880"/>
              <a:gd name="T13" fmla="*/ 108 h 224"/>
              <a:gd name="T14" fmla="*/ 1561 w 2880"/>
              <a:gd name="T15" fmla="*/ 80 h 224"/>
              <a:gd name="T16" fmla="*/ 2022 w 2880"/>
              <a:gd name="T17" fmla="*/ 160 h 224"/>
              <a:gd name="T18" fmla="*/ 2880 w 2880"/>
              <a:gd name="T19" fmla="*/ 114 h 224"/>
              <a:gd name="T20" fmla="*/ 2880 w 2880"/>
              <a:gd name="T21" fmla="*/ 67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880" h="224">
                <a:moveTo>
                  <a:pt x="2880" y="67"/>
                </a:moveTo>
                <a:cubicBezTo>
                  <a:pt x="2737" y="127"/>
                  <a:pt x="2450" y="206"/>
                  <a:pt x="1955" y="130"/>
                </a:cubicBezTo>
                <a:cubicBezTo>
                  <a:pt x="1571" y="69"/>
                  <a:pt x="1424" y="24"/>
                  <a:pt x="1212" y="24"/>
                </a:cubicBezTo>
                <a:cubicBezTo>
                  <a:pt x="932" y="24"/>
                  <a:pt x="775" y="136"/>
                  <a:pt x="433" y="137"/>
                </a:cubicBezTo>
                <a:cubicBezTo>
                  <a:pt x="184" y="140"/>
                  <a:pt x="0" y="67"/>
                  <a:pt x="0" y="67"/>
                </a:cubicBezTo>
                <a:cubicBezTo>
                  <a:pt x="1" y="96"/>
                  <a:pt x="1" y="96"/>
                  <a:pt x="1" y="96"/>
                </a:cubicBezTo>
                <a:cubicBezTo>
                  <a:pt x="1" y="96"/>
                  <a:pt x="346" y="205"/>
                  <a:pt x="753" y="108"/>
                </a:cubicBezTo>
                <a:cubicBezTo>
                  <a:pt x="1208" y="0"/>
                  <a:pt x="1340" y="47"/>
                  <a:pt x="1561" y="80"/>
                </a:cubicBezTo>
                <a:cubicBezTo>
                  <a:pt x="1627" y="90"/>
                  <a:pt x="1869" y="140"/>
                  <a:pt x="2022" y="160"/>
                </a:cubicBezTo>
                <a:cubicBezTo>
                  <a:pt x="2514" y="224"/>
                  <a:pt x="2716" y="161"/>
                  <a:pt x="2880" y="114"/>
                </a:cubicBezTo>
                <a:cubicBezTo>
                  <a:pt x="2880" y="67"/>
                  <a:pt x="2880" y="67"/>
                  <a:pt x="2880" y="67"/>
                </a:cubicBezTo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charset="0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395287" y="6569606"/>
            <a:ext cx="317586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US" sz="900" dirty="0">
                <a:solidFill>
                  <a:srgbClr val="004179"/>
                </a:solidFill>
              </a:rPr>
              <a:t>© 2015 GELITA AG. Any copies need to be authorized by GELITA</a:t>
            </a:r>
          </a:p>
        </p:txBody>
      </p:sp>
    </p:spTree>
    <p:extLst>
      <p:ext uri="{BB962C8B-B14F-4D97-AF65-F5344CB8AC3E}">
        <p14:creationId xmlns:p14="http://schemas.microsoft.com/office/powerpoint/2010/main" val="77814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10" descr="Company-Motiv-(Kind)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82600"/>
            <a:ext cx="9144000" cy="637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bgerundetes Rechteck 8"/>
          <p:cNvSpPr/>
          <p:nvPr userDrawn="1"/>
        </p:nvSpPr>
        <p:spPr bwMode="gray">
          <a:xfrm>
            <a:off x="395287" y="1769533"/>
            <a:ext cx="8353425" cy="4747202"/>
          </a:xfrm>
          <a:prstGeom prst="roundRect">
            <a:avLst>
              <a:gd name="adj" fmla="val 5468"/>
            </a:avLst>
          </a:prstGeom>
          <a:gradFill flip="none" rotWithShape="1">
            <a:gsLst>
              <a:gs pos="0">
                <a:schemeClr val="bg1">
                  <a:alpha val="25000"/>
                </a:schemeClr>
              </a:gs>
              <a:gs pos="20000">
                <a:srgbClr val="FFFFFF">
                  <a:alpha val="78000"/>
                </a:srgbClr>
              </a:gs>
              <a:gs pos="74000">
                <a:schemeClr val="bg1">
                  <a:alpha val="43000"/>
                </a:schemeClr>
              </a:gs>
              <a:gs pos="100000">
                <a:schemeClr val="bg1">
                  <a:alpha val="2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rgbClr val="29292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C7BD98F-CB44-460A-AB0F-B78530F77C65}" type="slidenum">
              <a:rPr lang="en-US">
                <a:solidFill>
                  <a:srgbClr val="004179"/>
                </a:solidFill>
              </a:rPr>
              <a:pPr/>
              <a:t>‹#›</a:t>
            </a:fld>
            <a:endParaRPr lang="en-US">
              <a:solidFill>
                <a:srgbClr val="004179"/>
              </a:solidFill>
            </a:endParaRPr>
          </a:p>
        </p:txBody>
      </p:sp>
      <p:sp>
        <p:nvSpPr>
          <p:cNvPr id="6" name="Rechteck 21"/>
          <p:cNvSpPr/>
          <p:nvPr userDrawn="1"/>
        </p:nvSpPr>
        <p:spPr bwMode="gray">
          <a:xfrm>
            <a:off x="0" y="0"/>
            <a:ext cx="9144982" cy="821830"/>
          </a:xfrm>
          <a:custGeom>
            <a:avLst/>
            <a:gdLst>
              <a:gd name="connsiteX0" fmla="*/ 0 w 9144000"/>
              <a:gd name="connsiteY0" fmla="*/ 394689 h 1011420"/>
              <a:gd name="connsiteX1" fmla="*/ 2306652 w 9144000"/>
              <a:gd name="connsiteY1" fmla="*/ 629718 h 1011420"/>
              <a:gd name="connsiteX2" fmla="*/ 5178847 w 9144000"/>
              <a:gd name="connsiteY2" fmla="*/ 639246 h 1011420"/>
              <a:gd name="connsiteX3" fmla="*/ 9144000 w 9144000"/>
              <a:gd name="connsiteY3" fmla="*/ 664654 h 1011420"/>
              <a:gd name="connsiteX4" fmla="*/ 9144000 w 9144000"/>
              <a:gd name="connsiteY4" fmla="*/ 1011420 h 1011420"/>
              <a:gd name="connsiteX5" fmla="*/ 0 w 9144000"/>
              <a:gd name="connsiteY5" fmla="*/ 1011420 h 1011420"/>
              <a:gd name="connsiteX6" fmla="*/ 0 w 9144000"/>
              <a:gd name="connsiteY6" fmla="*/ 394689 h 1011420"/>
              <a:gd name="connsiteX7" fmla="*/ 0 w 9144000"/>
              <a:gd name="connsiteY7" fmla="*/ 0 h 1011420"/>
              <a:gd name="connsiteX8" fmla="*/ 9144000 w 9144000"/>
              <a:gd name="connsiteY8" fmla="*/ 0 h 1011420"/>
              <a:gd name="connsiteX9" fmla="*/ 9144000 w 9144000"/>
              <a:gd name="connsiteY9" fmla="*/ 416922 h 1011420"/>
              <a:gd name="connsiteX10" fmla="*/ 6141540 w 9144000"/>
              <a:gd name="connsiteY10" fmla="*/ 686887 h 1011420"/>
              <a:gd name="connsiteX11" fmla="*/ 3812648 w 9144000"/>
              <a:gd name="connsiteY11" fmla="*/ 286703 h 1011420"/>
              <a:gd name="connsiteX12" fmla="*/ 1375730 w 9144000"/>
              <a:gd name="connsiteY12" fmla="*/ 642422 h 1011420"/>
              <a:gd name="connsiteX13" fmla="*/ 0 w 9144000"/>
              <a:gd name="connsiteY13" fmla="*/ 394689 h 1011420"/>
              <a:gd name="connsiteX14" fmla="*/ 0 w 9144000"/>
              <a:gd name="connsiteY14" fmla="*/ 0 h 1011420"/>
              <a:gd name="connsiteX0" fmla="*/ 0 w 9144000"/>
              <a:gd name="connsiteY0" fmla="*/ 394689 h 1011420"/>
              <a:gd name="connsiteX1" fmla="*/ 2306652 w 9144000"/>
              <a:gd name="connsiteY1" fmla="*/ 629718 h 1011420"/>
              <a:gd name="connsiteX2" fmla="*/ 5178847 w 9144000"/>
              <a:gd name="connsiteY2" fmla="*/ 639246 h 1011420"/>
              <a:gd name="connsiteX3" fmla="*/ 9144000 w 9144000"/>
              <a:gd name="connsiteY3" fmla="*/ 664654 h 1011420"/>
              <a:gd name="connsiteX4" fmla="*/ 9144000 w 9144000"/>
              <a:gd name="connsiteY4" fmla="*/ 1011420 h 1011420"/>
              <a:gd name="connsiteX5" fmla="*/ 0 w 9144000"/>
              <a:gd name="connsiteY5" fmla="*/ 394689 h 1011420"/>
              <a:gd name="connsiteX6" fmla="*/ 0 w 9144000"/>
              <a:gd name="connsiteY6" fmla="*/ 0 h 1011420"/>
              <a:gd name="connsiteX7" fmla="*/ 9144000 w 9144000"/>
              <a:gd name="connsiteY7" fmla="*/ 0 h 1011420"/>
              <a:gd name="connsiteX8" fmla="*/ 9144000 w 9144000"/>
              <a:gd name="connsiteY8" fmla="*/ 416922 h 1011420"/>
              <a:gd name="connsiteX9" fmla="*/ 6141540 w 9144000"/>
              <a:gd name="connsiteY9" fmla="*/ 686887 h 1011420"/>
              <a:gd name="connsiteX10" fmla="*/ 3812648 w 9144000"/>
              <a:gd name="connsiteY10" fmla="*/ 286703 h 1011420"/>
              <a:gd name="connsiteX11" fmla="*/ 1375730 w 9144000"/>
              <a:gd name="connsiteY11" fmla="*/ 642422 h 1011420"/>
              <a:gd name="connsiteX12" fmla="*/ 0 w 9144000"/>
              <a:gd name="connsiteY12" fmla="*/ 394689 h 1011420"/>
              <a:gd name="connsiteX13" fmla="*/ 0 w 9144000"/>
              <a:gd name="connsiteY13" fmla="*/ 0 h 1011420"/>
              <a:gd name="connsiteX0" fmla="*/ 0 w 9144000"/>
              <a:gd name="connsiteY0" fmla="*/ 394689 h 950210"/>
              <a:gd name="connsiteX1" fmla="*/ 2306652 w 9144000"/>
              <a:gd name="connsiteY1" fmla="*/ 629718 h 950210"/>
              <a:gd name="connsiteX2" fmla="*/ 5178847 w 9144000"/>
              <a:gd name="connsiteY2" fmla="*/ 639246 h 950210"/>
              <a:gd name="connsiteX3" fmla="*/ 9144000 w 9144000"/>
              <a:gd name="connsiteY3" fmla="*/ 664654 h 950210"/>
              <a:gd name="connsiteX4" fmla="*/ 0 w 9144000"/>
              <a:gd name="connsiteY4" fmla="*/ 394689 h 950210"/>
              <a:gd name="connsiteX5" fmla="*/ 0 w 9144000"/>
              <a:gd name="connsiteY5" fmla="*/ 0 h 950210"/>
              <a:gd name="connsiteX6" fmla="*/ 9144000 w 9144000"/>
              <a:gd name="connsiteY6" fmla="*/ 0 h 950210"/>
              <a:gd name="connsiteX7" fmla="*/ 9144000 w 9144000"/>
              <a:gd name="connsiteY7" fmla="*/ 416922 h 950210"/>
              <a:gd name="connsiteX8" fmla="*/ 6141540 w 9144000"/>
              <a:gd name="connsiteY8" fmla="*/ 686887 h 950210"/>
              <a:gd name="connsiteX9" fmla="*/ 3812648 w 9144000"/>
              <a:gd name="connsiteY9" fmla="*/ 286703 h 950210"/>
              <a:gd name="connsiteX10" fmla="*/ 1375730 w 9144000"/>
              <a:gd name="connsiteY10" fmla="*/ 642422 h 950210"/>
              <a:gd name="connsiteX11" fmla="*/ 0 w 9144000"/>
              <a:gd name="connsiteY11" fmla="*/ 394689 h 950210"/>
              <a:gd name="connsiteX12" fmla="*/ 0 w 9144000"/>
              <a:gd name="connsiteY12" fmla="*/ 0 h 950210"/>
              <a:gd name="connsiteX0" fmla="*/ 0 w 9144000"/>
              <a:gd name="connsiteY0" fmla="*/ 394689 h 766858"/>
              <a:gd name="connsiteX1" fmla="*/ 2306652 w 9144000"/>
              <a:gd name="connsiteY1" fmla="*/ 629718 h 766858"/>
              <a:gd name="connsiteX2" fmla="*/ 5178847 w 9144000"/>
              <a:gd name="connsiteY2" fmla="*/ 639246 h 766858"/>
              <a:gd name="connsiteX3" fmla="*/ 0 w 9144000"/>
              <a:gd name="connsiteY3" fmla="*/ 394689 h 766858"/>
              <a:gd name="connsiteX4" fmla="*/ 0 w 9144000"/>
              <a:gd name="connsiteY4" fmla="*/ 0 h 766858"/>
              <a:gd name="connsiteX5" fmla="*/ 9144000 w 9144000"/>
              <a:gd name="connsiteY5" fmla="*/ 0 h 766858"/>
              <a:gd name="connsiteX6" fmla="*/ 9144000 w 9144000"/>
              <a:gd name="connsiteY6" fmla="*/ 416922 h 766858"/>
              <a:gd name="connsiteX7" fmla="*/ 6141540 w 9144000"/>
              <a:gd name="connsiteY7" fmla="*/ 686887 h 766858"/>
              <a:gd name="connsiteX8" fmla="*/ 3812648 w 9144000"/>
              <a:gd name="connsiteY8" fmla="*/ 286703 h 766858"/>
              <a:gd name="connsiteX9" fmla="*/ 1375730 w 9144000"/>
              <a:gd name="connsiteY9" fmla="*/ 642422 h 766858"/>
              <a:gd name="connsiteX10" fmla="*/ 0 w 9144000"/>
              <a:gd name="connsiteY10" fmla="*/ 394689 h 766858"/>
              <a:gd name="connsiteX11" fmla="*/ 0 w 9144000"/>
              <a:gd name="connsiteY11" fmla="*/ 0 h 766858"/>
              <a:gd name="connsiteX0" fmla="*/ 0 w 9144000"/>
              <a:gd name="connsiteY0" fmla="*/ 0 h 766858"/>
              <a:gd name="connsiteX1" fmla="*/ 9144000 w 9144000"/>
              <a:gd name="connsiteY1" fmla="*/ 0 h 766858"/>
              <a:gd name="connsiteX2" fmla="*/ 9144000 w 9144000"/>
              <a:gd name="connsiteY2" fmla="*/ 416922 h 766858"/>
              <a:gd name="connsiteX3" fmla="*/ 6141540 w 9144000"/>
              <a:gd name="connsiteY3" fmla="*/ 686887 h 766858"/>
              <a:gd name="connsiteX4" fmla="*/ 3812648 w 9144000"/>
              <a:gd name="connsiteY4" fmla="*/ 286703 h 766858"/>
              <a:gd name="connsiteX5" fmla="*/ 1375730 w 9144000"/>
              <a:gd name="connsiteY5" fmla="*/ 642422 h 766858"/>
              <a:gd name="connsiteX6" fmla="*/ 0 w 9144000"/>
              <a:gd name="connsiteY6" fmla="*/ 394689 h 766858"/>
              <a:gd name="connsiteX7" fmla="*/ 0 w 9144000"/>
              <a:gd name="connsiteY7" fmla="*/ 0 h 766858"/>
              <a:gd name="connsiteX8" fmla="*/ 2398092 w 9144000"/>
              <a:gd name="connsiteY8" fmla="*/ 721158 h 766858"/>
              <a:gd name="connsiteX0" fmla="*/ 0 w 9144000"/>
              <a:gd name="connsiteY0" fmla="*/ 0 h 766858"/>
              <a:gd name="connsiteX1" fmla="*/ 9144000 w 9144000"/>
              <a:gd name="connsiteY1" fmla="*/ 0 h 766858"/>
              <a:gd name="connsiteX2" fmla="*/ 9144000 w 9144000"/>
              <a:gd name="connsiteY2" fmla="*/ 416922 h 766858"/>
              <a:gd name="connsiteX3" fmla="*/ 6141540 w 9144000"/>
              <a:gd name="connsiteY3" fmla="*/ 686887 h 766858"/>
              <a:gd name="connsiteX4" fmla="*/ 3812648 w 9144000"/>
              <a:gd name="connsiteY4" fmla="*/ 286703 h 766858"/>
              <a:gd name="connsiteX5" fmla="*/ 1375730 w 9144000"/>
              <a:gd name="connsiteY5" fmla="*/ 642422 h 766858"/>
              <a:gd name="connsiteX6" fmla="*/ 0 w 9144000"/>
              <a:gd name="connsiteY6" fmla="*/ 394689 h 766858"/>
              <a:gd name="connsiteX7" fmla="*/ 0 w 9144000"/>
              <a:gd name="connsiteY7" fmla="*/ 0 h 766858"/>
              <a:gd name="connsiteX0" fmla="*/ 0 w 9144000"/>
              <a:gd name="connsiteY0" fmla="*/ 0 h 692144"/>
              <a:gd name="connsiteX1" fmla="*/ 9144000 w 9144000"/>
              <a:gd name="connsiteY1" fmla="*/ 0 h 692144"/>
              <a:gd name="connsiteX2" fmla="*/ 9144000 w 9144000"/>
              <a:gd name="connsiteY2" fmla="*/ 500742 h 692144"/>
              <a:gd name="connsiteX3" fmla="*/ 6141540 w 9144000"/>
              <a:gd name="connsiteY3" fmla="*/ 686887 h 692144"/>
              <a:gd name="connsiteX4" fmla="*/ 3812648 w 9144000"/>
              <a:gd name="connsiteY4" fmla="*/ 286703 h 692144"/>
              <a:gd name="connsiteX5" fmla="*/ 1375730 w 9144000"/>
              <a:gd name="connsiteY5" fmla="*/ 642422 h 692144"/>
              <a:gd name="connsiteX6" fmla="*/ 0 w 9144000"/>
              <a:gd name="connsiteY6" fmla="*/ 394689 h 692144"/>
              <a:gd name="connsiteX7" fmla="*/ 0 w 9144000"/>
              <a:gd name="connsiteY7" fmla="*/ 0 h 692144"/>
              <a:gd name="connsiteX0" fmla="*/ 0 w 9144000"/>
              <a:gd name="connsiteY0" fmla="*/ 0 h 804424"/>
              <a:gd name="connsiteX1" fmla="*/ 9144000 w 9144000"/>
              <a:gd name="connsiteY1" fmla="*/ 0 h 804424"/>
              <a:gd name="connsiteX2" fmla="*/ 9144000 w 9144000"/>
              <a:gd name="connsiteY2" fmla="*/ 500742 h 804424"/>
              <a:gd name="connsiteX3" fmla="*/ 6895920 w 9144000"/>
              <a:gd name="connsiteY3" fmla="*/ 801187 h 804424"/>
              <a:gd name="connsiteX4" fmla="*/ 3812648 w 9144000"/>
              <a:gd name="connsiteY4" fmla="*/ 286703 h 804424"/>
              <a:gd name="connsiteX5" fmla="*/ 1375730 w 9144000"/>
              <a:gd name="connsiteY5" fmla="*/ 642422 h 804424"/>
              <a:gd name="connsiteX6" fmla="*/ 0 w 9144000"/>
              <a:gd name="connsiteY6" fmla="*/ 394689 h 804424"/>
              <a:gd name="connsiteX7" fmla="*/ 0 w 9144000"/>
              <a:gd name="connsiteY7" fmla="*/ 0 h 804424"/>
              <a:gd name="connsiteX0" fmla="*/ 0 w 9144000"/>
              <a:gd name="connsiteY0" fmla="*/ 0 h 802352"/>
              <a:gd name="connsiteX1" fmla="*/ 9144000 w 9144000"/>
              <a:gd name="connsiteY1" fmla="*/ 0 h 802352"/>
              <a:gd name="connsiteX2" fmla="*/ 9144000 w 9144000"/>
              <a:gd name="connsiteY2" fmla="*/ 500742 h 802352"/>
              <a:gd name="connsiteX3" fmla="*/ 6895920 w 9144000"/>
              <a:gd name="connsiteY3" fmla="*/ 801187 h 802352"/>
              <a:gd name="connsiteX4" fmla="*/ 3812648 w 9144000"/>
              <a:gd name="connsiteY4" fmla="*/ 286703 h 802352"/>
              <a:gd name="connsiteX5" fmla="*/ 1375730 w 9144000"/>
              <a:gd name="connsiteY5" fmla="*/ 642422 h 802352"/>
              <a:gd name="connsiteX6" fmla="*/ 0 w 9144000"/>
              <a:gd name="connsiteY6" fmla="*/ 394689 h 802352"/>
              <a:gd name="connsiteX7" fmla="*/ 0 w 9144000"/>
              <a:gd name="connsiteY7" fmla="*/ 0 h 80235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75730 w 9144000"/>
              <a:gd name="connsiteY5" fmla="*/ 642422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86840 w 9144000"/>
              <a:gd name="connsiteY5" fmla="*/ 553974 h 805292"/>
              <a:gd name="connsiteX6" fmla="*/ 1375730 w 9144000"/>
              <a:gd name="connsiteY6" fmla="*/ 642422 h 805292"/>
              <a:gd name="connsiteX7" fmla="*/ 0 w 9144000"/>
              <a:gd name="connsiteY7" fmla="*/ 394689 h 805292"/>
              <a:gd name="connsiteX8" fmla="*/ 0 w 9144000"/>
              <a:gd name="connsiteY8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86840 w 9144000"/>
              <a:gd name="connsiteY5" fmla="*/ 55397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432560 w 9144000"/>
              <a:gd name="connsiteY5" fmla="*/ 57683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432560 w 9144000"/>
              <a:gd name="connsiteY5" fmla="*/ 57683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992"/>
              <a:gd name="connsiteX1" fmla="*/ 9144000 w 9144000"/>
              <a:gd name="connsiteY1" fmla="*/ 0 h 805992"/>
              <a:gd name="connsiteX2" fmla="*/ 9144000 w 9144000"/>
              <a:gd name="connsiteY2" fmla="*/ 500742 h 805992"/>
              <a:gd name="connsiteX3" fmla="*/ 6895920 w 9144000"/>
              <a:gd name="connsiteY3" fmla="*/ 801187 h 805992"/>
              <a:gd name="connsiteX4" fmla="*/ 3865988 w 9144000"/>
              <a:gd name="connsiteY4" fmla="*/ 233363 h 805992"/>
              <a:gd name="connsiteX5" fmla="*/ 1432560 w 9144000"/>
              <a:gd name="connsiteY5" fmla="*/ 576834 h 805992"/>
              <a:gd name="connsiteX6" fmla="*/ 0 w 9144000"/>
              <a:gd name="connsiteY6" fmla="*/ 394689 h 805992"/>
              <a:gd name="connsiteX7" fmla="*/ 0 w 9144000"/>
              <a:gd name="connsiteY7" fmla="*/ 0 h 805992"/>
              <a:gd name="connsiteX0" fmla="*/ 0 w 9144000"/>
              <a:gd name="connsiteY0" fmla="*/ 0 h 805992"/>
              <a:gd name="connsiteX1" fmla="*/ 9144000 w 9144000"/>
              <a:gd name="connsiteY1" fmla="*/ 0 h 805992"/>
              <a:gd name="connsiteX2" fmla="*/ 9144000 w 9144000"/>
              <a:gd name="connsiteY2" fmla="*/ 500742 h 805992"/>
              <a:gd name="connsiteX3" fmla="*/ 6895920 w 9144000"/>
              <a:gd name="connsiteY3" fmla="*/ 801187 h 805992"/>
              <a:gd name="connsiteX4" fmla="*/ 3865988 w 9144000"/>
              <a:gd name="connsiteY4" fmla="*/ 233363 h 805992"/>
              <a:gd name="connsiteX5" fmla="*/ 1432560 w 9144000"/>
              <a:gd name="connsiteY5" fmla="*/ 576834 h 805992"/>
              <a:gd name="connsiteX6" fmla="*/ 0 w 9144000"/>
              <a:gd name="connsiteY6" fmla="*/ 394689 h 805992"/>
              <a:gd name="connsiteX7" fmla="*/ 0 w 9144000"/>
              <a:gd name="connsiteY7" fmla="*/ 0 h 805992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390650 w 9144000"/>
              <a:gd name="connsiteY5" fmla="*/ 627634 h 810959"/>
              <a:gd name="connsiteX6" fmla="*/ 1432560 w 9144000"/>
              <a:gd name="connsiteY6" fmla="*/ 57683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390650 w 9144000"/>
              <a:gd name="connsiteY5" fmla="*/ 62763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25600 w 9144000"/>
              <a:gd name="connsiteY5" fmla="*/ 6212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48046 w 9192046"/>
              <a:gd name="connsiteY0" fmla="*/ 0 h 810959"/>
              <a:gd name="connsiteX1" fmla="*/ 9192046 w 9192046"/>
              <a:gd name="connsiteY1" fmla="*/ 0 h 810959"/>
              <a:gd name="connsiteX2" fmla="*/ 9192046 w 9192046"/>
              <a:gd name="connsiteY2" fmla="*/ 500742 h 810959"/>
              <a:gd name="connsiteX3" fmla="*/ 6943966 w 9192046"/>
              <a:gd name="connsiteY3" fmla="*/ 801187 h 810959"/>
              <a:gd name="connsiteX4" fmla="*/ 3914034 w 9192046"/>
              <a:gd name="connsiteY4" fmla="*/ 233363 h 810959"/>
              <a:gd name="connsiteX5" fmla="*/ 1673646 w 9192046"/>
              <a:gd name="connsiteY5" fmla="*/ 621284 h 810959"/>
              <a:gd name="connsiteX6" fmla="*/ 915456 w 9192046"/>
              <a:gd name="connsiteY6" fmla="*/ 633984 h 810959"/>
              <a:gd name="connsiteX7" fmla="*/ 54396 w 9192046"/>
              <a:gd name="connsiteY7" fmla="*/ 456184 h 810959"/>
              <a:gd name="connsiteX8" fmla="*/ 79796 w 9192046"/>
              <a:gd name="connsiteY8" fmla="*/ 458189 h 810959"/>
              <a:gd name="connsiteX9" fmla="*/ 48046 w 9192046"/>
              <a:gd name="connsiteY9" fmla="*/ 0 h 810959"/>
              <a:gd name="connsiteX0" fmla="*/ 59284 w 9203284"/>
              <a:gd name="connsiteY0" fmla="*/ 0 h 810959"/>
              <a:gd name="connsiteX1" fmla="*/ 9203284 w 9203284"/>
              <a:gd name="connsiteY1" fmla="*/ 0 h 810959"/>
              <a:gd name="connsiteX2" fmla="*/ 9203284 w 9203284"/>
              <a:gd name="connsiteY2" fmla="*/ 500742 h 810959"/>
              <a:gd name="connsiteX3" fmla="*/ 6955204 w 9203284"/>
              <a:gd name="connsiteY3" fmla="*/ 801187 h 810959"/>
              <a:gd name="connsiteX4" fmla="*/ 3925272 w 9203284"/>
              <a:gd name="connsiteY4" fmla="*/ 233363 h 810959"/>
              <a:gd name="connsiteX5" fmla="*/ 1684884 w 9203284"/>
              <a:gd name="connsiteY5" fmla="*/ 621284 h 810959"/>
              <a:gd name="connsiteX6" fmla="*/ 926694 w 9203284"/>
              <a:gd name="connsiteY6" fmla="*/ 633984 h 810959"/>
              <a:gd name="connsiteX7" fmla="*/ 65634 w 9203284"/>
              <a:gd name="connsiteY7" fmla="*/ 456184 h 810959"/>
              <a:gd name="connsiteX8" fmla="*/ 59284 w 9203284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25600 w 9144000"/>
              <a:gd name="connsiteY5" fmla="*/ 621284 h 810959"/>
              <a:gd name="connsiteX6" fmla="*/ 867410 w 9144000"/>
              <a:gd name="connsiteY6" fmla="*/ 633984 h 810959"/>
              <a:gd name="connsiteX7" fmla="*/ 6350 w 9144000"/>
              <a:gd name="connsiteY7" fmla="*/ 456184 h 810959"/>
              <a:gd name="connsiteX8" fmla="*/ 0 w 9144000"/>
              <a:gd name="connsiteY8" fmla="*/ 0 h 810959"/>
              <a:gd name="connsiteX0" fmla="*/ 19050 w 9163050"/>
              <a:gd name="connsiteY0" fmla="*/ 0 h 810959"/>
              <a:gd name="connsiteX1" fmla="*/ 9163050 w 9163050"/>
              <a:gd name="connsiteY1" fmla="*/ 0 h 810959"/>
              <a:gd name="connsiteX2" fmla="*/ 9163050 w 9163050"/>
              <a:gd name="connsiteY2" fmla="*/ 500742 h 810959"/>
              <a:gd name="connsiteX3" fmla="*/ 6914970 w 9163050"/>
              <a:gd name="connsiteY3" fmla="*/ 801187 h 810959"/>
              <a:gd name="connsiteX4" fmla="*/ 3885038 w 9163050"/>
              <a:gd name="connsiteY4" fmla="*/ 233363 h 810959"/>
              <a:gd name="connsiteX5" fmla="*/ 1644650 w 9163050"/>
              <a:gd name="connsiteY5" fmla="*/ 621284 h 810959"/>
              <a:gd name="connsiteX6" fmla="*/ 886460 w 9163050"/>
              <a:gd name="connsiteY6" fmla="*/ 633984 h 810959"/>
              <a:gd name="connsiteX7" fmla="*/ 0 w 9163050"/>
              <a:gd name="connsiteY7" fmla="*/ 449834 h 810959"/>
              <a:gd name="connsiteX8" fmla="*/ 19050 w 91630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31950 w 9150350"/>
              <a:gd name="connsiteY5" fmla="*/ 621284 h 810959"/>
              <a:gd name="connsiteX6" fmla="*/ 873760 w 9150350"/>
              <a:gd name="connsiteY6" fmla="*/ 6339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31950 w 9150350"/>
              <a:gd name="connsiteY5" fmla="*/ 6212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19250 w 9150350"/>
              <a:gd name="connsiteY5" fmla="*/ 5831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19250 w 9150350"/>
              <a:gd name="connsiteY5" fmla="*/ 5831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19250 w 9150350"/>
              <a:gd name="connsiteY5" fmla="*/ 583184 h 802448"/>
              <a:gd name="connsiteX6" fmla="*/ 867410 w 9150350"/>
              <a:gd name="connsiteY6" fmla="*/ 583184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50246 w 9150350"/>
              <a:gd name="connsiteY5" fmla="*/ 699421 h 802448"/>
              <a:gd name="connsiteX6" fmla="*/ 867410 w 9150350"/>
              <a:gd name="connsiteY6" fmla="*/ 583184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50246 w 9150350"/>
              <a:gd name="connsiteY5" fmla="*/ 699421 h 802448"/>
              <a:gd name="connsiteX6" fmla="*/ 859660 w 9150350"/>
              <a:gd name="connsiteY6" fmla="*/ 699422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16313"/>
              <a:gd name="connsiteX1" fmla="*/ 9144000 w 9144000"/>
              <a:gd name="connsiteY1" fmla="*/ 0 h 816313"/>
              <a:gd name="connsiteX2" fmla="*/ 9144000 w 9144000"/>
              <a:gd name="connsiteY2" fmla="*/ 500742 h 816313"/>
              <a:gd name="connsiteX3" fmla="*/ 6895920 w 9144000"/>
              <a:gd name="connsiteY3" fmla="*/ 801187 h 816313"/>
              <a:gd name="connsiteX4" fmla="*/ 3935730 w 9144000"/>
              <a:gd name="connsiteY4" fmla="*/ 372848 h 816313"/>
              <a:gd name="connsiteX5" fmla="*/ 1643896 w 9144000"/>
              <a:gd name="connsiteY5" fmla="*/ 699421 h 816313"/>
              <a:gd name="connsiteX6" fmla="*/ 853310 w 9144000"/>
              <a:gd name="connsiteY6" fmla="*/ 699422 h 816313"/>
              <a:gd name="connsiteX7" fmla="*/ 1399 w 9144000"/>
              <a:gd name="connsiteY7" fmla="*/ 508921 h 816313"/>
              <a:gd name="connsiteX8" fmla="*/ 0 w 9144000"/>
              <a:gd name="connsiteY8" fmla="*/ 0 h 816313"/>
              <a:gd name="connsiteX0" fmla="*/ 0 w 9144000"/>
              <a:gd name="connsiteY0" fmla="*/ 0 h 821830"/>
              <a:gd name="connsiteX1" fmla="*/ 9144000 w 9144000"/>
              <a:gd name="connsiteY1" fmla="*/ 0 h 821830"/>
              <a:gd name="connsiteX2" fmla="*/ 9144000 w 9144000"/>
              <a:gd name="connsiteY2" fmla="*/ 500742 h 821830"/>
              <a:gd name="connsiteX3" fmla="*/ 6895920 w 9144000"/>
              <a:gd name="connsiteY3" fmla="*/ 801187 h 821830"/>
              <a:gd name="connsiteX4" fmla="*/ 3935730 w 9144000"/>
              <a:gd name="connsiteY4" fmla="*/ 372848 h 821830"/>
              <a:gd name="connsiteX5" fmla="*/ 1643896 w 9144000"/>
              <a:gd name="connsiteY5" fmla="*/ 699421 h 821830"/>
              <a:gd name="connsiteX6" fmla="*/ 853310 w 9144000"/>
              <a:gd name="connsiteY6" fmla="*/ 699422 h 821830"/>
              <a:gd name="connsiteX7" fmla="*/ 1399 w 9144000"/>
              <a:gd name="connsiteY7" fmla="*/ 508921 h 821830"/>
              <a:gd name="connsiteX8" fmla="*/ 0 w 9144000"/>
              <a:gd name="connsiteY8" fmla="*/ 0 h 821830"/>
              <a:gd name="connsiteX0" fmla="*/ 5745 w 9149745"/>
              <a:gd name="connsiteY0" fmla="*/ 0 h 821830"/>
              <a:gd name="connsiteX1" fmla="*/ 9149745 w 9149745"/>
              <a:gd name="connsiteY1" fmla="*/ 0 h 821830"/>
              <a:gd name="connsiteX2" fmla="*/ 9149745 w 9149745"/>
              <a:gd name="connsiteY2" fmla="*/ 500742 h 821830"/>
              <a:gd name="connsiteX3" fmla="*/ 6901665 w 9149745"/>
              <a:gd name="connsiteY3" fmla="*/ 801187 h 821830"/>
              <a:gd name="connsiteX4" fmla="*/ 3941475 w 9149745"/>
              <a:gd name="connsiteY4" fmla="*/ 372848 h 821830"/>
              <a:gd name="connsiteX5" fmla="*/ 1649641 w 9149745"/>
              <a:gd name="connsiteY5" fmla="*/ 699421 h 821830"/>
              <a:gd name="connsiteX6" fmla="*/ 859055 w 9149745"/>
              <a:gd name="connsiteY6" fmla="*/ 699422 h 821830"/>
              <a:gd name="connsiteX7" fmla="*/ 0 w 9149745"/>
              <a:gd name="connsiteY7" fmla="*/ 516065 h 821830"/>
              <a:gd name="connsiteX8" fmla="*/ 5745 w 9149745"/>
              <a:gd name="connsiteY8" fmla="*/ 0 h 821830"/>
              <a:gd name="connsiteX0" fmla="*/ 5745 w 9149745"/>
              <a:gd name="connsiteY0" fmla="*/ 0 h 821830"/>
              <a:gd name="connsiteX1" fmla="*/ 9149745 w 9149745"/>
              <a:gd name="connsiteY1" fmla="*/ 0 h 821830"/>
              <a:gd name="connsiteX2" fmla="*/ 9149745 w 9149745"/>
              <a:gd name="connsiteY2" fmla="*/ 500742 h 821830"/>
              <a:gd name="connsiteX3" fmla="*/ 6901665 w 9149745"/>
              <a:gd name="connsiteY3" fmla="*/ 801187 h 821830"/>
              <a:gd name="connsiteX4" fmla="*/ 3941475 w 9149745"/>
              <a:gd name="connsiteY4" fmla="*/ 372848 h 821830"/>
              <a:gd name="connsiteX5" fmla="*/ 1649641 w 9149745"/>
              <a:gd name="connsiteY5" fmla="*/ 699421 h 821830"/>
              <a:gd name="connsiteX6" fmla="*/ 859055 w 9149745"/>
              <a:gd name="connsiteY6" fmla="*/ 699422 h 821830"/>
              <a:gd name="connsiteX7" fmla="*/ 0 w 9149745"/>
              <a:gd name="connsiteY7" fmla="*/ 516065 h 821830"/>
              <a:gd name="connsiteX8" fmla="*/ 5745 w 9149745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16065 h 821830"/>
              <a:gd name="connsiteX8" fmla="*/ 3364 w 9147364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27971 h 821830"/>
              <a:gd name="connsiteX8" fmla="*/ 3364 w 9147364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27971 h 821830"/>
              <a:gd name="connsiteX8" fmla="*/ 3364 w 9147364"/>
              <a:gd name="connsiteY8" fmla="*/ 0 h 821830"/>
              <a:gd name="connsiteX0" fmla="*/ 0 w 9144000"/>
              <a:gd name="connsiteY0" fmla="*/ 0 h 821830"/>
              <a:gd name="connsiteX1" fmla="*/ 9144000 w 9144000"/>
              <a:gd name="connsiteY1" fmla="*/ 0 h 821830"/>
              <a:gd name="connsiteX2" fmla="*/ 9144000 w 9144000"/>
              <a:gd name="connsiteY2" fmla="*/ 500742 h 821830"/>
              <a:gd name="connsiteX3" fmla="*/ 6895920 w 9144000"/>
              <a:gd name="connsiteY3" fmla="*/ 801187 h 821830"/>
              <a:gd name="connsiteX4" fmla="*/ 3935730 w 9144000"/>
              <a:gd name="connsiteY4" fmla="*/ 372848 h 821830"/>
              <a:gd name="connsiteX5" fmla="*/ 1643896 w 9144000"/>
              <a:gd name="connsiteY5" fmla="*/ 699421 h 821830"/>
              <a:gd name="connsiteX6" fmla="*/ 853310 w 9144000"/>
              <a:gd name="connsiteY6" fmla="*/ 699422 h 821830"/>
              <a:gd name="connsiteX7" fmla="*/ 44262 w 9144000"/>
              <a:gd name="connsiteY7" fmla="*/ 508921 h 821830"/>
              <a:gd name="connsiteX8" fmla="*/ 0 w 9144000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982" h="821830">
                <a:close/>
                <a:moveTo>
                  <a:pt x="982" y="0"/>
                </a:moveTo>
                <a:lnTo>
                  <a:pt x="9144982" y="0"/>
                </a:lnTo>
                <a:lnTo>
                  <a:pt x="9144982" y="500742"/>
                </a:lnTo>
                <a:cubicBezTo>
                  <a:pt x="8989299" y="567439"/>
                  <a:pt x="8212622" y="908228"/>
                  <a:pt x="6896902" y="801187"/>
                </a:cubicBezTo>
                <a:cubicBezTo>
                  <a:pt x="5581182" y="694146"/>
                  <a:pt x="4812049" y="389809"/>
                  <a:pt x="3936712" y="372848"/>
                </a:cubicBezTo>
                <a:cubicBezTo>
                  <a:pt x="3061375" y="355887"/>
                  <a:pt x="2650524" y="615188"/>
                  <a:pt x="1644878" y="699421"/>
                </a:cubicBezTo>
                <a:cubicBezTo>
                  <a:pt x="1300425" y="734441"/>
                  <a:pt x="1145069" y="712052"/>
                  <a:pt x="854292" y="699422"/>
                </a:cubicBezTo>
                <a:cubicBezTo>
                  <a:pt x="591825" y="672964"/>
                  <a:pt x="142187" y="600298"/>
                  <a:pt x="0" y="532734"/>
                </a:cubicBezTo>
                <a:cubicBezTo>
                  <a:pt x="688" y="518351"/>
                  <a:pt x="2305" y="95038"/>
                  <a:pt x="982" y="0"/>
                </a:cubicBezTo>
              </a:path>
            </a:pathLst>
          </a:custGeom>
          <a:gradFill flip="none" rotWithShape="1">
            <a:gsLst>
              <a:gs pos="0">
                <a:srgbClr val="DBDBDB"/>
              </a:gs>
              <a:gs pos="78000">
                <a:srgbClr val="FFFFFF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7" name="Bild 8" descr="Logo-mit-Claim_Innenseit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242810" y="221897"/>
            <a:ext cx="121285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Freeform 12"/>
          <p:cNvSpPr>
            <a:spLocks/>
          </p:cNvSpPr>
          <p:nvPr userDrawn="1"/>
        </p:nvSpPr>
        <p:spPr bwMode="gray">
          <a:xfrm>
            <a:off x="-6350" y="255769"/>
            <a:ext cx="9154800" cy="712875"/>
          </a:xfrm>
          <a:custGeom>
            <a:avLst/>
            <a:gdLst>
              <a:gd name="T0" fmla="*/ 2880 w 2880"/>
              <a:gd name="T1" fmla="*/ 67 h 224"/>
              <a:gd name="T2" fmla="*/ 1955 w 2880"/>
              <a:gd name="T3" fmla="*/ 130 h 224"/>
              <a:gd name="T4" fmla="*/ 1212 w 2880"/>
              <a:gd name="T5" fmla="*/ 24 h 224"/>
              <a:gd name="T6" fmla="*/ 433 w 2880"/>
              <a:gd name="T7" fmla="*/ 137 h 224"/>
              <a:gd name="T8" fmla="*/ 0 w 2880"/>
              <a:gd name="T9" fmla="*/ 67 h 224"/>
              <a:gd name="T10" fmla="*/ 1 w 2880"/>
              <a:gd name="T11" fmla="*/ 96 h 224"/>
              <a:gd name="T12" fmla="*/ 753 w 2880"/>
              <a:gd name="T13" fmla="*/ 108 h 224"/>
              <a:gd name="T14" fmla="*/ 1561 w 2880"/>
              <a:gd name="T15" fmla="*/ 80 h 224"/>
              <a:gd name="T16" fmla="*/ 2022 w 2880"/>
              <a:gd name="T17" fmla="*/ 160 h 224"/>
              <a:gd name="T18" fmla="*/ 2880 w 2880"/>
              <a:gd name="T19" fmla="*/ 114 h 224"/>
              <a:gd name="T20" fmla="*/ 2880 w 2880"/>
              <a:gd name="T21" fmla="*/ 67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880" h="224">
                <a:moveTo>
                  <a:pt x="2880" y="67"/>
                </a:moveTo>
                <a:cubicBezTo>
                  <a:pt x="2737" y="127"/>
                  <a:pt x="2450" y="206"/>
                  <a:pt x="1955" y="130"/>
                </a:cubicBezTo>
                <a:cubicBezTo>
                  <a:pt x="1571" y="69"/>
                  <a:pt x="1424" y="24"/>
                  <a:pt x="1212" y="24"/>
                </a:cubicBezTo>
                <a:cubicBezTo>
                  <a:pt x="932" y="24"/>
                  <a:pt x="775" y="136"/>
                  <a:pt x="433" y="137"/>
                </a:cubicBezTo>
                <a:cubicBezTo>
                  <a:pt x="184" y="140"/>
                  <a:pt x="0" y="67"/>
                  <a:pt x="0" y="67"/>
                </a:cubicBezTo>
                <a:cubicBezTo>
                  <a:pt x="1" y="96"/>
                  <a:pt x="1" y="96"/>
                  <a:pt x="1" y="96"/>
                </a:cubicBezTo>
                <a:cubicBezTo>
                  <a:pt x="1" y="96"/>
                  <a:pt x="346" y="205"/>
                  <a:pt x="753" y="108"/>
                </a:cubicBezTo>
                <a:cubicBezTo>
                  <a:pt x="1208" y="0"/>
                  <a:pt x="1340" y="47"/>
                  <a:pt x="1561" y="80"/>
                </a:cubicBezTo>
                <a:cubicBezTo>
                  <a:pt x="1627" y="90"/>
                  <a:pt x="1869" y="140"/>
                  <a:pt x="2022" y="160"/>
                </a:cubicBezTo>
                <a:cubicBezTo>
                  <a:pt x="2514" y="224"/>
                  <a:pt x="2716" y="161"/>
                  <a:pt x="2880" y="114"/>
                </a:cubicBezTo>
                <a:cubicBezTo>
                  <a:pt x="2880" y="67"/>
                  <a:pt x="2880" y="67"/>
                  <a:pt x="2880" y="67"/>
                </a:cubicBezTo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charset="0"/>
            </a:endParaRPr>
          </a:p>
        </p:txBody>
      </p:sp>
      <p:sp>
        <p:nvSpPr>
          <p:cNvPr id="10" name="Rechteck 9"/>
          <p:cNvSpPr/>
          <p:nvPr userDrawn="1"/>
        </p:nvSpPr>
        <p:spPr>
          <a:xfrm>
            <a:off x="395287" y="6592183"/>
            <a:ext cx="317586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US" sz="900" dirty="0">
                <a:solidFill>
                  <a:srgbClr val="004179"/>
                </a:solidFill>
              </a:rPr>
              <a:t>© 2015GELITA AG. Any copies need to be authorized by GELITA</a:t>
            </a:r>
          </a:p>
        </p:txBody>
      </p:sp>
    </p:spTree>
    <p:extLst>
      <p:ext uri="{BB962C8B-B14F-4D97-AF65-F5344CB8AC3E}">
        <p14:creationId xmlns:p14="http://schemas.microsoft.com/office/powerpoint/2010/main" val="1092324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 30" descr="Collagen-Motiv-(Kussfrau)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57175"/>
            <a:ext cx="9144000" cy="660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Oval 7"/>
          <p:cNvSpPr/>
          <p:nvPr userDrawn="1"/>
        </p:nvSpPr>
        <p:spPr>
          <a:xfrm>
            <a:off x="1143000" y="4002088"/>
            <a:ext cx="1079500" cy="1079500"/>
          </a:xfrm>
          <a:prstGeom prst="ellipse">
            <a:avLst/>
          </a:prstGeom>
          <a:noFill/>
          <a:ln w="38100" cap="flat" cmpd="sng" algn="ctr">
            <a:solidFill>
              <a:srgbClr val="FFA01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9" name="Abgerundetes Rechteck 8"/>
          <p:cNvSpPr/>
          <p:nvPr userDrawn="1"/>
        </p:nvSpPr>
        <p:spPr bwMode="gray">
          <a:xfrm>
            <a:off x="395287" y="1769533"/>
            <a:ext cx="8353425" cy="4747202"/>
          </a:xfrm>
          <a:prstGeom prst="roundRect">
            <a:avLst>
              <a:gd name="adj" fmla="val 5468"/>
            </a:avLst>
          </a:prstGeom>
          <a:gradFill flip="none" rotWithShape="1">
            <a:gsLst>
              <a:gs pos="0">
                <a:schemeClr val="bg1">
                  <a:alpha val="25000"/>
                </a:schemeClr>
              </a:gs>
              <a:gs pos="20000">
                <a:srgbClr val="FFFFFF">
                  <a:alpha val="78000"/>
                </a:srgbClr>
              </a:gs>
              <a:gs pos="74000">
                <a:schemeClr val="bg1">
                  <a:alpha val="43000"/>
                </a:schemeClr>
              </a:gs>
              <a:gs pos="100000">
                <a:schemeClr val="bg1">
                  <a:alpha val="2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rgbClr val="29292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C7BD98F-CB44-460A-AB0F-B78530F77C65}" type="slidenum">
              <a:rPr lang="en-US">
                <a:solidFill>
                  <a:srgbClr val="004179"/>
                </a:solidFill>
              </a:rPr>
              <a:pPr/>
              <a:t>‹#›</a:t>
            </a:fld>
            <a:endParaRPr lang="en-US">
              <a:solidFill>
                <a:srgbClr val="004179"/>
              </a:solidFill>
            </a:endParaRPr>
          </a:p>
        </p:txBody>
      </p:sp>
      <p:sp>
        <p:nvSpPr>
          <p:cNvPr id="6" name="Rechteck 21"/>
          <p:cNvSpPr/>
          <p:nvPr userDrawn="1"/>
        </p:nvSpPr>
        <p:spPr bwMode="gray">
          <a:xfrm>
            <a:off x="0" y="0"/>
            <a:ext cx="9144982" cy="821830"/>
          </a:xfrm>
          <a:custGeom>
            <a:avLst/>
            <a:gdLst>
              <a:gd name="connsiteX0" fmla="*/ 0 w 9144000"/>
              <a:gd name="connsiteY0" fmla="*/ 394689 h 1011420"/>
              <a:gd name="connsiteX1" fmla="*/ 2306652 w 9144000"/>
              <a:gd name="connsiteY1" fmla="*/ 629718 h 1011420"/>
              <a:gd name="connsiteX2" fmla="*/ 5178847 w 9144000"/>
              <a:gd name="connsiteY2" fmla="*/ 639246 h 1011420"/>
              <a:gd name="connsiteX3" fmla="*/ 9144000 w 9144000"/>
              <a:gd name="connsiteY3" fmla="*/ 664654 h 1011420"/>
              <a:gd name="connsiteX4" fmla="*/ 9144000 w 9144000"/>
              <a:gd name="connsiteY4" fmla="*/ 1011420 h 1011420"/>
              <a:gd name="connsiteX5" fmla="*/ 0 w 9144000"/>
              <a:gd name="connsiteY5" fmla="*/ 1011420 h 1011420"/>
              <a:gd name="connsiteX6" fmla="*/ 0 w 9144000"/>
              <a:gd name="connsiteY6" fmla="*/ 394689 h 1011420"/>
              <a:gd name="connsiteX7" fmla="*/ 0 w 9144000"/>
              <a:gd name="connsiteY7" fmla="*/ 0 h 1011420"/>
              <a:gd name="connsiteX8" fmla="*/ 9144000 w 9144000"/>
              <a:gd name="connsiteY8" fmla="*/ 0 h 1011420"/>
              <a:gd name="connsiteX9" fmla="*/ 9144000 w 9144000"/>
              <a:gd name="connsiteY9" fmla="*/ 416922 h 1011420"/>
              <a:gd name="connsiteX10" fmla="*/ 6141540 w 9144000"/>
              <a:gd name="connsiteY10" fmla="*/ 686887 h 1011420"/>
              <a:gd name="connsiteX11" fmla="*/ 3812648 w 9144000"/>
              <a:gd name="connsiteY11" fmla="*/ 286703 h 1011420"/>
              <a:gd name="connsiteX12" fmla="*/ 1375730 w 9144000"/>
              <a:gd name="connsiteY12" fmla="*/ 642422 h 1011420"/>
              <a:gd name="connsiteX13" fmla="*/ 0 w 9144000"/>
              <a:gd name="connsiteY13" fmla="*/ 394689 h 1011420"/>
              <a:gd name="connsiteX14" fmla="*/ 0 w 9144000"/>
              <a:gd name="connsiteY14" fmla="*/ 0 h 1011420"/>
              <a:gd name="connsiteX0" fmla="*/ 0 w 9144000"/>
              <a:gd name="connsiteY0" fmla="*/ 394689 h 1011420"/>
              <a:gd name="connsiteX1" fmla="*/ 2306652 w 9144000"/>
              <a:gd name="connsiteY1" fmla="*/ 629718 h 1011420"/>
              <a:gd name="connsiteX2" fmla="*/ 5178847 w 9144000"/>
              <a:gd name="connsiteY2" fmla="*/ 639246 h 1011420"/>
              <a:gd name="connsiteX3" fmla="*/ 9144000 w 9144000"/>
              <a:gd name="connsiteY3" fmla="*/ 664654 h 1011420"/>
              <a:gd name="connsiteX4" fmla="*/ 9144000 w 9144000"/>
              <a:gd name="connsiteY4" fmla="*/ 1011420 h 1011420"/>
              <a:gd name="connsiteX5" fmla="*/ 0 w 9144000"/>
              <a:gd name="connsiteY5" fmla="*/ 394689 h 1011420"/>
              <a:gd name="connsiteX6" fmla="*/ 0 w 9144000"/>
              <a:gd name="connsiteY6" fmla="*/ 0 h 1011420"/>
              <a:gd name="connsiteX7" fmla="*/ 9144000 w 9144000"/>
              <a:gd name="connsiteY7" fmla="*/ 0 h 1011420"/>
              <a:gd name="connsiteX8" fmla="*/ 9144000 w 9144000"/>
              <a:gd name="connsiteY8" fmla="*/ 416922 h 1011420"/>
              <a:gd name="connsiteX9" fmla="*/ 6141540 w 9144000"/>
              <a:gd name="connsiteY9" fmla="*/ 686887 h 1011420"/>
              <a:gd name="connsiteX10" fmla="*/ 3812648 w 9144000"/>
              <a:gd name="connsiteY10" fmla="*/ 286703 h 1011420"/>
              <a:gd name="connsiteX11" fmla="*/ 1375730 w 9144000"/>
              <a:gd name="connsiteY11" fmla="*/ 642422 h 1011420"/>
              <a:gd name="connsiteX12" fmla="*/ 0 w 9144000"/>
              <a:gd name="connsiteY12" fmla="*/ 394689 h 1011420"/>
              <a:gd name="connsiteX13" fmla="*/ 0 w 9144000"/>
              <a:gd name="connsiteY13" fmla="*/ 0 h 1011420"/>
              <a:gd name="connsiteX0" fmla="*/ 0 w 9144000"/>
              <a:gd name="connsiteY0" fmla="*/ 394689 h 950210"/>
              <a:gd name="connsiteX1" fmla="*/ 2306652 w 9144000"/>
              <a:gd name="connsiteY1" fmla="*/ 629718 h 950210"/>
              <a:gd name="connsiteX2" fmla="*/ 5178847 w 9144000"/>
              <a:gd name="connsiteY2" fmla="*/ 639246 h 950210"/>
              <a:gd name="connsiteX3" fmla="*/ 9144000 w 9144000"/>
              <a:gd name="connsiteY3" fmla="*/ 664654 h 950210"/>
              <a:gd name="connsiteX4" fmla="*/ 0 w 9144000"/>
              <a:gd name="connsiteY4" fmla="*/ 394689 h 950210"/>
              <a:gd name="connsiteX5" fmla="*/ 0 w 9144000"/>
              <a:gd name="connsiteY5" fmla="*/ 0 h 950210"/>
              <a:gd name="connsiteX6" fmla="*/ 9144000 w 9144000"/>
              <a:gd name="connsiteY6" fmla="*/ 0 h 950210"/>
              <a:gd name="connsiteX7" fmla="*/ 9144000 w 9144000"/>
              <a:gd name="connsiteY7" fmla="*/ 416922 h 950210"/>
              <a:gd name="connsiteX8" fmla="*/ 6141540 w 9144000"/>
              <a:gd name="connsiteY8" fmla="*/ 686887 h 950210"/>
              <a:gd name="connsiteX9" fmla="*/ 3812648 w 9144000"/>
              <a:gd name="connsiteY9" fmla="*/ 286703 h 950210"/>
              <a:gd name="connsiteX10" fmla="*/ 1375730 w 9144000"/>
              <a:gd name="connsiteY10" fmla="*/ 642422 h 950210"/>
              <a:gd name="connsiteX11" fmla="*/ 0 w 9144000"/>
              <a:gd name="connsiteY11" fmla="*/ 394689 h 950210"/>
              <a:gd name="connsiteX12" fmla="*/ 0 w 9144000"/>
              <a:gd name="connsiteY12" fmla="*/ 0 h 950210"/>
              <a:gd name="connsiteX0" fmla="*/ 0 w 9144000"/>
              <a:gd name="connsiteY0" fmla="*/ 394689 h 766858"/>
              <a:gd name="connsiteX1" fmla="*/ 2306652 w 9144000"/>
              <a:gd name="connsiteY1" fmla="*/ 629718 h 766858"/>
              <a:gd name="connsiteX2" fmla="*/ 5178847 w 9144000"/>
              <a:gd name="connsiteY2" fmla="*/ 639246 h 766858"/>
              <a:gd name="connsiteX3" fmla="*/ 0 w 9144000"/>
              <a:gd name="connsiteY3" fmla="*/ 394689 h 766858"/>
              <a:gd name="connsiteX4" fmla="*/ 0 w 9144000"/>
              <a:gd name="connsiteY4" fmla="*/ 0 h 766858"/>
              <a:gd name="connsiteX5" fmla="*/ 9144000 w 9144000"/>
              <a:gd name="connsiteY5" fmla="*/ 0 h 766858"/>
              <a:gd name="connsiteX6" fmla="*/ 9144000 w 9144000"/>
              <a:gd name="connsiteY6" fmla="*/ 416922 h 766858"/>
              <a:gd name="connsiteX7" fmla="*/ 6141540 w 9144000"/>
              <a:gd name="connsiteY7" fmla="*/ 686887 h 766858"/>
              <a:gd name="connsiteX8" fmla="*/ 3812648 w 9144000"/>
              <a:gd name="connsiteY8" fmla="*/ 286703 h 766858"/>
              <a:gd name="connsiteX9" fmla="*/ 1375730 w 9144000"/>
              <a:gd name="connsiteY9" fmla="*/ 642422 h 766858"/>
              <a:gd name="connsiteX10" fmla="*/ 0 w 9144000"/>
              <a:gd name="connsiteY10" fmla="*/ 394689 h 766858"/>
              <a:gd name="connsiteX11" fmla="*/ 0 w 9144000"/>
              <a:gd name="connsiteY11" fmla="*/ 0 h 766858"/>
              <a:gd name="connsiteX0" fmla="*/ 0 w 9144000"/>
              <a:gd name="connsiteY0" fmla="*/ 0 h 766858"/>
              <a:gd name="connsiteX1" fmla="*/ 9144000 w 9144000"/>
              <a:gd name="connsiteY1" fmla="*/ 0 h 766858"/>
              <a:gd name="connsiteX2" fmla="*/ 9144000 w 9144000"/>
              <a:gd name="connsiteY2" fmla="*/ 416922 h 766858"/>
              <a:gd name="connsiteX3" fmla="*/ 6141540 w 9144000"/>
              <a:gd name="connsiteY3" fmla="*/ 686887 h 766858"/>
              <a:gd name="connsiteX4" fmla="*/ 3812648 w 9144000"/>
              <a:gd name="connsiteY4" fmla="*/ 286703 h 766858"/>
              <a:gd name="connsiteX5" fmla="*/ 1375730 w 9144000"/>
              <a:gd name="connsiteY5" fmla="*/ 642422 h 766858"/>
              <a:gd name="connsiteX6" fmla="*/ 0 w 9144000"/>
              <a:gd name="connsiteY6" fmla="*/ 394689 h 766858"/>
              <a:gd name="connsiteX7" fmla="*/ 0 w 9144000"/>
              <a:gd name="connsiteY7" fmla="*/ 0 h 766858"/>
              <a:gd name="connsiteX8" fmla="*/ 2398092 w 9144000"/>
              <a:gd name="connsiteY8" fmla="*/ 721158 h 766858"/>
              <a:gd name="connsiteX0" fmla="*/ 0 w 9144000"/>
              <a:gd name="connsiteY0" fmla="*/ 0 h 766858"/>
              <a:gd name="connsiteX1" fmla="*/ 9144000 w 9144000"/>
              <a:gd name="connsiteY1" fmla="*/ 0 h 766858"/>
              <a:gd name="connsiteX2" fmla="*/ 9144000 w 9144000"/>
              <a:gd name="connsiteY2" fmla="*/ 416922 h 766858"/>
              <a:gd name="connsiteX3" fmla="*/ 6141540 w 9144000"/>
              <a:gd name="connsiteY3" fmla="*/ 686887 h 766858"/>
              <a:gd name="connsiteX4" fmla="*/ 3812648 w 9144000"/>
              <a:gd name="connsiteY4" fmla="*/ 286703 h 766858"/>
              <a:gd name="connsiteX5" fmla="*/ 1375730 w 9144000"/>
              <a:gd name="connsiteY5" fmla="*/ 642422 h 766858"/>
              <a:gd name="connsiteX6" fmla="*/ 0 w 9144000"/>
              <a:gd name="connsiteY6" fmla="*/ 394689 h 766858"/>
              <a:gd name="connsiteX7" fmla="*/ 0 w 9144000"/>
              <a:gd name="connsiteY7" fmla="*/ 0 h 766858"/>
              <a:gd name="connsiteX0" fmla="*/ 0 w 9144000"/>
              <a:gd name="connsiteY0" fmla="*/ 0 h 692144"/>
              <a:gd name="connsiteX1" fmla="*/ 9144000 w 9144000"/>
              <a:gd name="connsiteY1" fmla="*/ 0 h 692144"/>
              <a:gd name="connsiteX2" fmla="*/ 9144000 w 9144000"/>
              <a:gd name="connsiteY2" fmla="*/ 500742 h 692144"/>
              <a:gd name="connsiteX3" fmla="*/ 6141540 w 9144000"/>
              <a:gd name="connsiteY3" fmla="*/ 686887 h 692144"/>
              <a:gd name="connsiteX4" fmla="*/ 3812648 w 9144000"/>
              <a:gd name="connsiteY4" fmla="*/ 286703 h 692144"/>
              <a:gd name="connsiteX5" fmla="*/ 1375730 w 9144000"/>
              <a:gd name="connsiteY5" fmla="*/ 642422 h 692144"/>
              <a:gd name="connsiteX6" fmla="*/ 0 w 9144000"/>
              <a:gd name="connsiteY6" fmla="*/ 394689 h 692144"/>
              <a:gd name="connsiteX7" fmla="*/ 0 w 9144000"/>
              <a:gd name="connsiteY7" fmla="*/ 0 h 692144"/>
              <a:gd name="connsiteX0" fmla="*/ 0 w 9144000"/>
              <a:gd name="connsiteY0" fmla="*/ 0 h 804424"/>
              <a:gd name="connsiteX1" fmla="*/ 9144000 w 9144000"/>
              <a:gd name="connsiteY1" fmla="*/ 0 h 804424"/>
              <a:gd name="connsiteX2" fmla="*/ 9144000 w 9144000"/>
              <a:gd name="connsiteY2" fmla="*/ 500742 h 804424"/>
              <a:gd name="connsiteX3" fmla="*/ 6895920 w 9144000"/>
              <a:gd name="connsiteY3" fmla="*/ 801187 h 804424"/>
              <a:gd name="connsiteX4" fmla="*/ 3812648 w 9144000"/>
              <a:gd name="connsiteY4" fmla="*/ 286703 h 804424"/>
              <a:gd name="connsiteX5" fmla="*/ 1375730 w 9144000"/>
              <a:gd name="connsiteY5" fmla="*/ 642422 h 804424"/>
              <a:gd name="connsiteX6" fmla="*/ 0 w 9144000"/>
              <a:gd name="connsiteY6" fmla="*/ 394689 h 804424"/>
              <a:gd name="connsiteX7" fmla="*/ 0 w 9144000"/>
              <a:gd name="connsiteY7" fmla="*/ 0 h 804424"/>
              <a:gd name="connsiteX0" fmla="*/ 0 w 9144000"/>
              <a:gd name="connsiteY0" fmla="*/ 0 h 802352"/>
              <a:gd name="connsiteX1" fmla="*/ 9144000 w 9144000"/>
              <a:gd name="connsiteY1" fmla="*/ 0 h 802352"/>
              <a:gd name="connsiteX2" fmla="*/ 9144000 w 9144000"/>
              <a:gd name="connsiteY2" fmla="*/ 500742 h 802352"/>
              <a:gd name="connsiteX3" fmla="*/ 6895920 w 9144000"/>
              <a:gd name="connsiteY3" fmla="*/ 801187 h 802352"/>
              <a:gd name="connsiteX4" fmla="*/ 3812648 w 9144000"/>
              <a:gd name="connsiteY4" fmla="*/ 286703 h 802352"/>
              <a:gd name="connsiteX5" fmla="*/ 1375730 w 9144000"/>
              <a:gd name="connsiteY5" fmla="*/ 642422 h 802352"/>
              <a:gd name="connsiteX6" fmla="*/ 0 w 9144000"/>
              <a:gd name="connsiteY6" fmla="*/ 394689 h 802352"/>
              <a:gd name="connsiteX7" fmla="*/ 0 w 9144000"/>
              <a:gd name="connsiteY7" fmla="*/ 0 h 80235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75730 w 9144000"/>
              <a:gd name="connsiteY5" fmla="*/ 642422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86840 w 9144000"/>
              <a:gd name="connsiteY5" fmla="*/ 553974 h 805292"/>
              <a:gd name="connsiteX6" fmla="*/ 1375730 w 9144000"/>
              <a:gd name="connsiteY6" fmla="*/ 642422 h 805292"/>
              <a:gd name="connsiteX7" fmla="*/ 0 w 9144000"/>
              <a:gd name="connsiteY7" fmla="*/ 394689 h 805292"/>
              <a:gd name="connsiteX8" fmla="*/ 0 w 9144000"/>
              <a:gd name="connsiteY8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86840 w 9144000"/>
              <a:gd name="connsiteY5" fmla="*/ 55397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432560 w 9144000"/>
              <a:gd name="connsiteY5" fmla="*/ 57683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432560 w 9144000"/>
              <a:gd name="connsiteY5" fmla="*/ 57683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992"/>
              <a:gd name="connsiteX1" fmla="*/ 9144000 w 9144000"/>
              <a:gd name="connsiteY1" fmla="*/ 0 h 805992"/>
              <a:gd name="connsiteX2" fmla="*/ 9144000 w 9144000"/>
              <a:gd name="connsiteY2" fmla="*/ 500742 h 805992"/>
              <a:gd name="connsiteX3" fmla="*/ 6895920 w 9144000"/>
              <a:gd name="connsiteY3" fmla="*/ 801187 h 805992"/>
              <a:gd name="connsiteX4" fmla="*/ 3865988 w 9144000"/>
              <a:gd name="connsiteY4" fmla="*/ 233363 h 805992"/>
              <a:gd name="connsiteX5" fmla="*/ 1432560 w 9144000"/>
              <a:gd name="connsiteY5" fmla="*/ 576834 h 805992"/>
              <a:gd name="connsiteX6" fmla="*/ 0 w 9144000"/>
              <a:gd name="connsiteY6" fmla="*/ 394689 h 805992"/>
              <a:gd name="connsiteX7" fmla="*/ 0 w 9144000"/>
              <a:gd name="connsiteY7" fmla="*/ 0 h 805992"/>
              <a:gd name="connsiteX0" fmla="*/ 0 w 9144000"/>
              <a:gd name="connsiteY0" fmla="*/ 0 h 805992"/>
              <a:gd name="connsiteX1" fmla="*/ 9144000 w 9144000"/>
              <a:gd name="connsiteY1" fmla="*/ 0 h 805992"/>
              <a:gd name="connsiteX2" fmla="*/ 9144000 w 9144000"/>
              <a:gd name="connsiteY2" fmla="*/ 500742 h 805992"/>
              <a:gd name="connsiteX3" fmla="*/ 6895920 w 9144000"/>
              <a:gd name="connsiteY3" fmla="*/ 801187 h 805992"/>
              <a:gd name="connsiteX4" fmla="*/ 3865988 w 9144000"/>
              <a:gd name="connsiteY4" fmla="*/ 233363 h 805992"/>
              <a:gd name="connsiteX5" fmla="*/ 1432560 w 9144000"/>
              <a:gd name="connsiteY5" fmla="*/ 576834 h 805992"/>
              <a:gd name="connsiteX6" fmla="*/ 0 w 9144000"/>
              <a:gd name="connsiteY6" fmla="*/ 394689 h 805992"/>
              <a:gd name="connsiteX7" fmla="*/ 0 w 9144000"/>
              <a:gd name="connsiteY7" fmla="*/ 0 h 805992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390650 w 9144000"/>
              <a:gd name="connsiteY5" fmla="*/ 627634 h 810959"/>
              <a:gd name="connsiteX6" fmla="*/ 1432560 w 9144000"/>
              <a:gd name="connsiteY6" fmla="*/ 57683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390650 w 9144000"/>
              <a:gd name="connsiteY5" fmla="*/ 62763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25600 w 9144000"/>
              <a:gd name="connsiteY5" fmla="*/ 6212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48046 w 9192046"/>
              <a:gd name="connsiteY0" fmla="*/ 0 h 810959"/>
              <a:gd name="connsiteX1" fmla="*/ 9192046 w 9192046"/>
              <a:gd name="connsiteY1" fmla="*/ 0 h 810959"/>
              <a:gd name="connsiteX2" fmla="*/ 9192046 w 9192046"/>
              <a:gd name="connsiteY2" fmla="*/ 500742 h 810959"/>
              <a:gd name="connsiteX3" fmla="*/ 6943966 w 9192046"/>
              <a:gd name="connsiteY3" fmla="*/ 801187 h 810959"/>
              <a:gd name="connsiteX4" fmla="*/ 3914034 w 9192046"/>
              <a:gd name="connsiteY4" fmla="*/ 233363 h 810959"/>
              <a:gd name="connsiteX5" fmla="*/ 1673646 w 9192046"/>
              <a:gd name="connsiteY5" fmla="*/ 621284 h 810959"/>
              <a:gd name="connsiteX6" fmla="*/ 915456 w 9192046"/>
              <a:gd name="connsiteY6" fmla="*/ 633984 h 810959"/>
              <a:gd name="connsiteX7" fmla="*/ 54396 w 9192046"/>
              <a:gd name="connsiteY7" fmla="*/ 456184 h 810959"/>
              <a:gd name="connsiteX8" fmla="*/ 79796 w 9192046"/>
              <a:gd name="connsiteY8" fmla="*/ 458189 h 810959"/>
              <a:gd name="connsiteX9" fmla="*/ 48046 w 9192046"/>
              <a:gd name="connsiteY9" fmla="*/ 0 h 810959"/>
              <a:gd name="connsiteX0" fmla="*/ 59284 w 9203284"/>
              <a:gd name="connsiteY0" fmla="*/ 0 h 810959"/>
              <a:gd name="connsiteX1" fmla="*/ 9203284 w 9203284"/>
              <a:gd name="connsiteY1" fmla="*/ 0 h 810959"/>
              <a:gd name="connsiteX2" fmla="*/ 9203284 w 9203284"/>
              <a:gd name="connsiteY2" fmla="*/ 500742 h 810959"/>
              <a:gd name="connsiteX3" fmla="*/ 6955204 w 9203284"/>
              <a:gd name="connsiteY3" fmla="*/ 801187 h 810959"/>
              <a:gd name="connsiteX4" fmla="*/ 3925272 w 9203284"/>
              <a:gd name="connsiteY4" fmla="*/ 233363 h 810959"/>
              <a:gd name="connsiteX5" fmla="*/ 1684884 w 9203284"/>
              <a:gd name="connsiteY5" fmla="*/ 621284 h 810959"/>
              <a:gd name="connsiteX6" fmla="*/ 926694 w 9203284"/>
              <a:gd name="connsiteY6" fmla="*/ 633984 h 810959"/>
              <a:gd name="connsiteX7" fmla="*/ 65634 w 9203284"/>
              <a:gd name="connsiteY7" fmla="*/ 456184 h 810959"/>
              <a:gd name="connsiteX8" fmla="*/ 59284 w 9203284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25600 w 9144000"/>
              <a:gd name="connsiteY5" fmla="*/ 621284 h 810959"/>
              <a:gd name="connsiteX6" fmla="*/ 867410 w 9144000"/>
              <a:gd name="connsiteY6" fmla="*/ 633984 h 810959"/>
              <a:gd name="connsiteX7" fmla="*/ 6350 w 9144000"/>
              <a:gd name="connsiteY7" fmla="*/ 456184 h 810959"/>
              <a:gd name="connsiteX8" fmla="*/ 0 w 9144000"/>
              <a:gd name="connsiteY8" fmla="*/ 0 h 810959"/>
              <a:gd name="connsiteX0" fmla="*/ 19050 w 9163050"/>
              <a:gd name="connsiteY0" fmla="*/ 0 h 810959"/>
              <a:gd name="connsiteX1" fmla="*/ 9163050 w 9163050"/>
              <a:gd name="connsiteY1" fmla="*/ 0 h 810959"/>
              <a:gd name="connsiteX2" fmla="*/ 9163050 w 9163050"/>
              <a:gd name="connsiteY2" fmla="*/ 500742 h 810959"/>
              <a:gd name="connsiteX3" fmla="*/ 6914970 w 9163050"/>
              <a:gd name="connsiteY3" fmla="*/ 801187 h 810959"/>
              <a:gd name="connsiteX4" fmla="*/ 3885038 w 9163050"/>
              <a:gd name="connsiteY4" fmla="*/ 233363 h 810959"/>
              <a:gd name="connsiteX5" fmla="*/ 1644650 w 9163050"/>
              <a:gd name="connsiteY5" fmla="*/ 621284 h 810959"/>
              <a:gd name="connsiteX6" fmla="*/ 886460 w 9163050"/>
              <a:gd name="connsiteY6" fmla="*/ 633984 h 810959"/>
              <a:gd name="connsiteX7" fmla="*/ 0 w 9163050"/>
              <a:gd name="connsiteY7" fmla="*/ 449834 h 810959"/>
              <a:gd name="connsiteX8" fmla="*/ 19050 w 91630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31950 w 9150350"/>
              <a:gd name="connsiteY5" fmla="*/ 621284 h 810959"/>
              <a:gd name="connsiteX6" fmla="*/ 873760 w 9150350"/>
              <a:gd name="connsiteY6" fmla="*/ 6339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31950 w 9150350"/>
              <a:gd name="connsiteY5" fmla="*/ 6212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19250 w 9150350"/>
              <a:gd name="connsiteY5" fmla="*/ 5831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19250 w 9150350"/>
              <a:gd name="connsiteY5" fmla="*/ 5831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19250 w 9150350"/>
              <a:gd name="connsiteY5" fmla="*/ 583184 h 802448"/>
              <a:gd name="connsiteX6" fmla="*/ 867410 w 9150350"/>
              <a:gd name="connsiteY6" fmla="*/ 583184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50246 w 9150350"/>
              <a:gd name="connsiteY5" fmla="*/ 699421 h 802448"/>
              <a:gd name="connsiteX6" fmla="*/ 867410 w 9150350"/>
              <a:gd name="connsiteY6" fmla="*/ 583184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50246 w 9150350"/>
              <a:gd name="connsiteY5" fmla="*/ 699421 h 802448"/>
              <a:gd name="connsiteX6" fmla="*/ 859660 w 9150350"/>
              <a:gd name="connsiteY6" fmla="*/ 699422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16313"/>
              <a:gd name="connsiteX1" fmla="*/ 9144000 w 9144000"/>
              <a:gd name="connsiteY1" fmla="*/ 0 h 816313"/>
              <a:gd name="connsiteX2" fmla="*/ 9144000 w 9144000"/>
              <a:gd name="connsiteY2" fmla="*/ 500742 h 816313"/>
              <a:gd name="connsiteX3" fmla="*/ 6895920 w 9144000"/>
              <a:gd name="connsiteY3" fmla="*/ 801187 h 816313"/>
              <a:gd name="connsiteX4" fmla="*/ 3935730 w 9144000"/>
              <a:gd name="connsiteY4" fmla="*/ 372848 h 816313"/>
              <a:gd name="connsiteX5" fmla="*/ 1643896 w 9144000"/>
              <a:gd name="connsiteY5" fmla="*/ 699421 h 816313"/>
              <a:gd name="connsiteX6" fmla="*/ 853310 w 9144000"/>
              <a:gd name="connsiteY6" fmla="*/ 699422 h 816313"/>
              <a:gd name="connsiteX7" fmla="*/ 1399 w 9144000"/>
              <a:gd name="connsiteY7" fmla="*/ 508921 h 816313"/>
              <a:gd name="connsiteX8" fmla="*/ 0 w 9144000"/>
              <a:gd name="connsiteY8" fmla="*/ 0 h 816313"/>
              <a:gd name="connsiteX0" fmla="*/ 0 w 9144000"/>
              <a:gd name="connsiteY0" fmla="*/ 0 h 821830"/>
              <a:gd name="connsiteX1" fmla="*/ 9144000 w 9144000"/>
              <a:gd name="connsiteY1" fmla="*/ 0 h 821830"/>
              <a:gd name="connsiteX2" fmla="*/ 9144000 w 9144000"/>
              <a:gd name="connsiteY2" fmla="*/ 500742 h 821830"/>
              <a:gd name="connsiteX3" fmla="*/ 6895920 w 9144000"/>
              <a:gd name="connsiteY3" fmla="*/ 801187 h 821830"/>
              <a:gd name="connsiteX4" fmla="*/ 3935730 w 9144000"/>
              <a:gd name="connsiteY4" fmla="*/ 372848 h 821830"/>
              <a:gd name="connsiteX5" fmla="*/ 1643896 w 9144000"/>
              <a:gd name="connsiteY5" fmla="*/ 699421 h 821830"/>
              <a:gd name="connsiteX6" fmla="*/ 853310 w 9144000"/>
              <a:gd name="connsiteY6" fmla="*/ 699422 h 821830"/>
              <a:gd name="connsiteX7" fmla="*/ 1399 w 9144000"/>
              <a:gd name="connsiteY7" fmla="*/ 508921 h 821830"/>
              <a:gd name="connsiteX8" fmla="*/ 0 w 9144000"/>
              <a:gd name="connsiteY8" fmla="*/ 0 h 821830"/>
              <a:gd name="connsiteX0" fmla="*/ 5745 w 9149745"/>
              <a:gd name="connsiteY0" fmla="*/ 0 h 821830"/>
              <a:gd name="connsiteX1" fmla="*/ 9149745 w 9149745"/>
              <a:gd name="connsiteY1" fmla="*/ 0 h 821830"/>
              <a:gd name="connsiteX2" fmla="*/ 9149745 w 9149745"/>
              <a:gd name="connsiteY2" fmla="*/ 500742 h 821830"/>
              <a:gd name="connsiteX3" fmla="*/ 6901665 w 9149745"/>
              <a:gd name="connsiteY3" fmla="*/ 801187 h 821830"/>
              <a:gd name="connsiteX4" fmla="*/ 3941475 w 9149745"/>
              <a:gd name="connsiteY4" fmla="*/ 372848 h 821830"/>
              <a:gd name="connsiteX5" fmla="*/ 1649641 w 9149745"/>
              <a:gd name="connsiteY5" fmla="*/ 699421 h 821830"/>
              <a:gd name="connsiteX6" fmla="*/ 859055 w 9149745"/>
              <a:gd name="connsiteY6" fmla="*/ 699422 h 821830"/>
              <a:gd name="connsiteX7" fmla="*/ 0 w 9149745"/>
              <a:gd name="connsiteY7" fmla="*/ 516065 h 821830"/>
              <a:gd name="connsiteX8" fmla="*/ 5745 w 9149745"/>
              <a:gd name="connsiteY8" fmla="*/ 0 h 821830"/>
              <a:gd name="connsiteX0" fmla="*/ 5745 w 9149745"/>
              <a:gd name="connsiteY0" fmla="*/ 0 h 821830"/>
              <a:gd name="connsiteX1" fmla="*/ 9149745 w 9149745"/>
              <a:gd name="connsiteY1" fmla="*/ 0 h 821830"/>
              <a:gd name="connsiteX2" fmla="*/ 9149745 w 9149745"/>
              <a:gd name="connsiteY2" fmla="*/ 500742 h 821830"/>
              <a:gd name="connsiteX3" fmla="*/ 6901665 w 9149745"/>
              <a:gd name="connsiteY3" fmla="*/ 801187 h 821830"/>
              <a:gd name="connsiteX4" fmla="*/ 3941475 w 9149745"/>
              <a:gd name="connsiteY4" fmla="*/ 372848 h 821830"/>
              <a:gd name="connsiteX5" fmla="*/ 1649641 w 9149745"/>
              <a:gd name="connsiteY5" fmla="*/ 699421 h 821830"/>
              <a:gd name="connsiteX6" fmla="*/ 859055 w 9149745"/>
              <a:gd name="connsiteY6" fmla="*/ 699422 h 821830"/>
              <a:gd name="connsiteX7" fmla="*/ 0 w 9149745"/>
              <a:gd name="connsiteY7" fmla="*/ 516065 h 821830"/>
              <a:gd name="connsiteX8" fmla="*/ 5745 w 9149745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16065 h 821830"/>
              <a:gd name="connsiteX8" fmla="*/ 3364 w 9147364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27971 h 821830"/>
              <a:gd name="connsiteX8" fmla="*/ 3364 w 9147364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27971 h 821830"/>
              <a:gd name="connsiteX8" fmla="*/ 3364 w 9147364"/>
              <a:gd name="connsiteY8" fmla="*/ 0 h 821830"/>
              <a:gd name="connsiteX0" fmla="*/ 0 w 9144000"/>
              <a:gd name="connsiteY0" fmla="*/ 0 h 821830"/>
              <a:gd name="connsiteX1" fmla="*/ 9144000 w 9144000"/>
              <a:gd name="connsiteY1" fmla="*/ 0 h 821830"/>
              <a:gd name="connsiteX2" fmla="*/ 9144000 w 9144000"/>
              <a:gd name="connsiteY2" fmla="*/ 500742 h 821830"/>
              <a:gd name="connsiteX3" fmla="*/ 6895920 w 9144000"/>
              <a:gd name="connsiteY3" fmla="*/ 801187 h 821830"/>
              <a:gd name="connsiteX4" fmla="*/ 3935730 w 9144000"/>
              <a:gd name="connsiteY4" fmla="*/ 372848 h 821830"/>
              <a:gd name="connsiteX5" fmla="*/ 1643896 w 9144000"/>
              <a:gd name="connsiteY5" fmla="*/ 699421 h 821830"/>
              <a:gd name="connsiteX6" fmla="*/ 853310 w 9144000"/>
              <a:gd name="connsiteY6" fmla="*/ 699422 h 821830"/>
              <a:gd name="connsiteX7" fmla="*/ 44262 w 9144000"/>
              <a:gd name="connsiteY7" fmla="*/ 508921 h 821830"/>
              <a:gd name="connsiteX8" fmla="*/ 0 w 9144000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982" h="821830">
                <a:close/>
                <a:moveTo>
                  <a:pt x="982" y="0"/>
                </a:moveTo>
                <a:lnTo>
                  <a:pt x="9144982" y="0"/>
                </a:lnTo>
                <a:lnTo>
                  <a:pt x="9144982" y="500742"/>
                </a:lnTo>
                <a:cubicBezTo>
                  <a:pt x="8989299" y="567439"/>
                  <a:pt x="8212622" y="908228"/>
                  <a:pt x="6896902" y="801187"/>
                </a:cubicBezTo>
                <a:cubicBezTo>
                  <a:pt x="5581182" y="694146"/>
                  <a:pt x="4812049" y="389809"/>
                  <a:pt x="3936712" y="372848"/>
                </a:cubicBezTo>
                <a:cubicBezTo>
                  <a:pt x="3061375" y="355887"/>
                  <a:pt x="2650524" y="615188"/>
                  <a:pt x="1644878" y="699421"/>
                </a:cubicBezTo>
                <a:cubicBezTo>
                  <a:pt x="1300425" y="734441"/>
                  <a:pt x="1145069" y="712052"/>
                  <a:pt x="854292" y="699422"/>
                </a:cubicBezTo>
                <a:cubicBezTo>
                  <a:pt x="591825" y="672964"/>
                  <a:pt x="142187" y="600298"/>
                  <a:pt x="0" y="532734"/>
                </a:cubicBezTo>
                <a:cubicBezTo>
                  <a:pt x="688" y="518351"/>
                  <a:pt x="2305" y="95038"/>
                  <a:pt x="982" y="0"/>
                </a:cubicBezTo>
              </a:path>
            </a:pathLst>
          </a:custGeom>
          <a:gradFill flip="none" rotWithShape="1">
            <a:gsLst>
              <a:gs pos="0">
                <a:srgbClr val="DBDBDB"/>
              </a:gs>
              <a:gs pos="78000">
                <a:srgbClr val="FFFFFF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7" name="Bild 8" descr="Logo-mit-Claim_Innenseit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242810" y="221897"/>
            <a:ext cx="121285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Freeform 12"/>
          <p:cNvSpPr>
            <a:spLocks/>
          </p:cNvSpPr>
          <p:nvPr userDrawn="1"/>
        </p:nvSpPr>
        <p:spPr bwMode="gray">
          <a:xfrm>
            <a:off x="-6350" y="255769"/>
            <a:ext cx="9154800" cy="712875"/>
          </a:xfrm>
          <a:custGeom>
            <a:avLst/>
            <a:gdLst>
              <a:gd name="T0" fmla="*/ 2880 w 2880"/>
              <a:gd name="T1" fmla="*/ 67 h 224"/>
              <a:gd name="T2" fmla="*/ 1955 w 2880"/>
              <a:gd name="T3" fmla="*/ 130 h 224"/>
              <a:gd name="T4" fmla="*/ 1212 w 2880"/>
              <a:gd name="T5" fmla="*/ 24 h 224"/>
              <a:gd name="T6" fmla="*/ 433 w 2880"/>
              <a:gd name="T7" fmla="*/ 137 h 224"/>
              <a:gd name="T8" fmla="*/ 0 w 2880"/>
              <a:gd name="T9" fmla="*/ 67 h 224"/>
              <a:gd name="T10" fmla="*/ 1 w 2880"/>
              <a:gd name="T11" fmla="*/ 96 h 224"/>
              <a:gd name="T12" fmla="*/ 753 w 2880"/>
              <a:gd name="T13" fmla="*/ 108 h 224"/>
              <a:gd name="T14" fmla="*/ 1561 w 2880"/>
              <a:gd name="T15" fmla="*/ 80 h 224"/>
              <a:gd name="T16" fmla="*/ 2022 w 2880"/>
              <a:gd name="T17" fmla="*/ 160 h 224"/>
              <a:gd name="T18" fmla="*/ 2880 w 2880"/>
              <a:gd name="T19" fmla="*/ 114 h 224"/>
              <a:gd name="T20" fmla="*/ 2880 w 2880"/>
              <a:gd name="T21" fmla="*/ 67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880" h="224">
                <a:moveTo>
                  <a:pt x="2880" y="67"/>
                </a:moveTo>
                <a:cubicBezTo>
                  <a:pt x="2737" y="127"/>
                  <a:pt x="2450" y="206"/>
                  <a:pt x="1955" y="130"/>
                </a:cubicBezTo>
                <a:cubicBezTo>
                  <a:pt x="1571" y="69"/>
                  <a:pt x="1424" y="24"/>
                  <a:pt x="1212" y="24"/>
                </a:cubicBezTo>
                <a:cubicBezTo>
                  <a:pt x="932" y="24"/>
                  <a:pt x="775" y="136"/>
                  <a:pt x="433" y="137"/>
                </a:cubicBezTo>
                <a:cubicBezTo>
                  <a:pt x="184" y="140"/>
                  <a:pt x="0" y="67"/>
                  <a:pt x="0" y="67"/>
                </a:cubicBezTo>
                <a:cubicBezTo>
                  <a:pt x="1" y="96"/>
                  <a:pt x="1" y="96"/>
                  <a:pt x="1" y="96"/>
                </a:cubicBezTo>
                <a:cubicBezTo>
                  <a:pt x="1" y="96"/>
                  <a:pt x="346" y="205"/>
                  <a:pt x="753" y="108"/>
                </a:cubicBezTo>
                <a:cubicBezTo>
                  <a:pt x="1208" y="0"/>
                  <a:pt x="1340" y="47"/>
                  <a:pt x="1561" y="80"/>
                </a:cubicBezTo>
                <a:cubicBezTo>
                  <a:pt x="1627" y="90"/>
                  <a:pt x="1869" y="140"/>
                  <a:pt x="2022" y="160"/>
                </a:cubicBezTo>
                <a:cubicBezTo>
                  <a:pt x="2514" y="224"/>
                  <a:pt x="2716" y="161"/>
                  <a:pt x="2880" y="114"/>
                </a:cubicBezTo>
                <a:cubicBezTo>
                  <a:pt x="2880" y="67"/>
                  <a:pt x="2880" y="67"/>
                  <a:pt x="2880" y="67"/>
                </a:cubicBezTo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charset="0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395287" y="6621819"/>
            <a:ext cx="317586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US" sz="900" dirty="0">
                <a:solidFill>
                  <a:srgbClr val="004179"/>
                </a:solidFill>
              </a:rPr>
              <a:t>© 2015 GELITA AG. Any copies need to be authorized by GELITA</a:t>
            </a:r>
          </a:p>
        </p:txBody>
      </p:sp>
    </p:spTree>
    <p:extLst>
      <p:ext uri="{BB962C8B-B14F-4D97-AF65-F5344CB8AC3E}">
        <p14:creationId xmlns:p14="http://schemas.microsoft.com/office/powerpoint/2010/main" val="2083818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 100" descr="PPT-Hintergrund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Abgerundetes Rechteck 11"/>
          <p:cNvSpPr/>
          <p:nvPr userDrawn="1"/>
        </p:nvSpPr>
        <p:spPr bwMode="gray">
          <a:xfrm>
            <a:off x="395287" y="1769533"/>
            <a:ext cx="8353425" cy="4747202"/>
          </a:xfrm>
          <a:prstGeom prst="roundRect">
            <a:avLst>
              <a:gd name="adj" fmla="val 5468"/>
            </a:avLst>
          </a:prstGeom>
          <a:gradFill flip="none" rotWithShape="1">
            <a:gsLst>
              <a:gs pos="0">
                <a:schemeClr val="bg1">
                  <a:alpha val="25000"/>
                </a:schemeClr>
              </a:gs>
              <a:gs pos="20000">
                <a:srgbClr val="FFFFFF">
                  <a:alpha val="78000"/>
                </a:srgbClr>
              </a:gs>
              <a:gs pos="74000">
                <a:schemeClr val="bg1">
                  <a:alpha val="43000"/>
                </a:schemeClr>
              </a:gs>
              <a:gs pos="100000">
                <a:schemeClr val="bg1">
                  <a:alpha val="2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rgbClr val="29292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" name="Objekt 21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4912415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21"/>
          <p:cNvSpPr/>
          <p:nvPr/>
        </p:nvSpPr>
        <p:spPr bwMode="gray">
          <a:xfrm>
            <a:off x="0" y="0"/>
            <a:ext cx="9144982" cy="821830"/>
          </a:xfrm>
          <a:custGeom>
            <a:avLst/>
            <a:gdLst>
              <a:gd name="connsiteX0" fmla="*/ 0 w 9144000"/>
              <a:gd name="connsiteY0" fmla="*/ 394689 h 1011420"/>
              <a:gd name="connsiteX1" fmla="*/ 2306652 w 9144000"/>
              <a:gd name="connsiteY1" fmla="*/ 629718 h 1011420"/>
              <a:gd name="connsiteX2" fmla="*/ 5178847 w 9144000"/>
              <a:gd name="connsiteY2" fmla="*/ 639246 h 1011420"/>
              <a:gd name="connsiteX3" fmla="*/ 9144000 w 9144000"/>
              <a:gd name="connsiteY3" fmla="*/ 664654 h 1011420"/>
              <a:gd name="connsiteX4" fmla="*/ 9144000 w 9144000"/>
              <a:gd name="connsiteY4" fmla="*/ 1011420 h 1011420"/>
              <a:gd name="connsiteX5" fmla="*/ 0 w 9144000"/>
              <a:gd name="connsiteY5" fmla="*/ 1011420 h 1011420"/>
              <a:gd name="connsiteX6" fmla="*/ 0 w 9144000"/>
              <a:gd name="connsiteY6" fmla="*/ 394689 h 1011420"/>
              <a:gd name="connsiteX7" fmla="*/ 0 w 9144000"/>
              <a:gd name="connsiteY7" fmla="*/ 0 h 1011420"/>
              <a:gd name="connsiteX8" fmla="*/ 9144000 w 9144000"/>
              <a:gd name="connsiteY8" fmla="*/ 0 h 1011420"/>
              <a:gd name="connsiteX9" fmla="*/ 9144000 w 9144000"/>
              <a:gd name="connsiteY9" fmla="*/ 416922 h 1011420"/>
              <a:gd name="connsiteX10" fmla="*/ 6141540 w 9144000"/>
              <a:gd name="connsiteY10" fmla="*/ 686887 h 1011420"/>
              <a:gd name="connsiteX11" fmla="*/ 3812648 w 9144000"/>
              <a:gd name="connsiteY11" fmla="*/ 286703 h 1011420"/>
              <a:gd name="connsiteX12" fmla="*/ 1375730 w 9144000"/>
              <a:gd name="connsiteY12" fmla="*/ 642422 h 1011420"/>
              <a:gd name="connsiteX13" fmla="*/ 0 w 9144000"/>
              <a:gd name="connsiteY13" fmla="*/ 394689 h 1011420"/>
              <a:gd name="connsiteX14" fmla="*/ 0 w 9144000"/>
              <a:gd name="connsiteY14" fmla="*/ 0 h 1011420"/>
              <a:gd name="connsiteX0" fmla="*/ 0 w 9144000"/>
              <a:gd name="connsiteY0" fmla="*/ 394689 h 1011420"/>
              <a:gd name="connsiteX1" fmla="*/ 2306652 w 9144000"/>
              <a:gd name="connsiteY1" fmla="*/ 629718 h 1011420"/>
              <a:gd name="connsiteX2" fmla="*/ 5178847 w 9144000"/>
              <a:gd name="connsiteY2" fmla="*/ 639246 h 1011420"/>
              <a:gd name="connsiteX3" fmla="*/ 9144000 w 9144000"/>
              <a:gd name="connsiteY3" fmla="*/ 664654 h 1011420"/>
              <a:gd name="connsiteX4" fmla="*/ 9144000 w 9144000"/>
              <a:gd name="connsiteY4" fmla="*/ 1011420 h 1011420"/>
              <a:gd name="connsiteX5" fmla="*/ 0 w 9144000"/>
              <a:gd name="connsiteY5" fmla="*/ 394689 h 1011420"/>
              <a:gd name="connsiteX6" fmla="*/ 0 w 9144000"/>
              <a:gd name="connsiteY6" fmla="*/ 0 h 1011420"/>
              <a:gd name="connsiteX7" fmla="*/ 9144000 w 9144000"/>
              <a:gd name="connsiteY7" fmla="*/ 0 h 1011420"/>
              <a:gd name="connsiteX8" fmla="*/ 9144000 w 9144000"/>
              <a:gd name="connsiteY8" fmla="*/ 416922 h 1011420"/>
              <a:gd name="connsiteX9" fmla="*/ 6141540 w 9144000"/>
              <a:gd name="connsiteY9" fmla="*/ 686887 h 1011420"/>
              <a:gd name="connsiteX10" fmla="*/ 3812648 w 9144000"/>
              <a:gd name="connsiteY10" fmla="*/ 286703 h 1011420"/>
              <a:gd name="connsiteX11" fmla="*/ 1375730 w 9144000"/>
              <a:gd name="connsiteY11" fmla="*/ 642422 h 1011420"/>
              <a:gd name="connsiteX12" fmla="*/ 0 w 9144000"/>
              <a:gd name="connsiteY12" fmla="*/ 394689 h 1011420"/>
              <a:gd name="connsiteX13" fmla="*/ 0 w 9144000"/>
              <a:gd name="connsiteY13" fmla="*/ 0 h 1011420"/>
              <a:gd name="connsiteX0" fmla="*/ 0 w 9144000"/>
              <a:gd name="connsiteY0" fmla="*/ 394689 h 950210"/>
              <a:gd name="connsiteX1" fmla="*/ 2306652 w 9144000"/>
              <a:gd name="connsiteY1" fmla="*/ 629718 h 950210"/>
              <a:gd name="connsiteX2" fmla="*/ 5178847 w 9144000"/>
              <a:gd name="connsiteY2" fmla="*/ 639246 h 950210"/>
              <a:gd name="connsiteX3" fmla="*/ 9144000 w 9144000"/>
              <a:gd name="connsiteY3" fmla="*/ 664654 h 950210"/>
              <a:gd name="connsiteX4" fmla="*/ 0 w 9144000"/>
              <a:gd name="connsiteY4" fmla="*/ 394689 h 950210"/>
              <a:gd name="connsiteX5" fmla="*/ 0 w 9144000"/>
              <a:gd name="connsiteY5" fmla="*/ 0 h 950210"/>
              <a:gd name="connsiteX6" fmla="*/ 9144000 w 9144000"/>
              <a:gd name="connsiteY6" fmla="*/ 0 h 950210"/>
              <a:gd name="connsiteX7" fmla="*/ 9144000 w 9144000"/>
              <a:gd name="connsiteY7" fmla="*/ 416922 h 950210"/>
              <a:gd name="connsiteX8" fmla="*/ 6141540 w 9144000"/>
              <a:gd name="connsiteY8" fmla="*/ 686887 h 950210"/>
              <a:gd name="connsiteX9" fmla="*/ 3812648 w 9144000"/>
              <a:gd name="connsiteY9" fmla="*/ 286703 h 950210"/>
              <a:gd name="connsiteX10" fmla="*/ 1375730 w 9144000"/>
              <a:gd name="connsiteY10" fmla="*/ 642422 h 950210"/>
              <a:gd name="connsiteX11" fmla="*/ 0 w 9144000"/>
              <a:gd name="connsiteY11" fmla="*/ 394689 h 950210"/>
              <a:gd name="connsiteX12" fmla="*/ 0 w 9144000"/>
              <a:gd name="connsiteY12" fmla="*/ 0 h 950210"/>
              <a:gd name="connsiteX0" fmla="*/ 0 w 9144000"/>
              <a:gd name="connsiteY0" fmla="*/ 394689 h 766858"/>
              <a:gd name="connsiteX1" fmla="*/ 2306652 w 9144000"/>
              <a:gd name="connsiteY1" fmla="*/ 629718 h 766858"/>
              <a:gd name="connsiteX2" fmla="*/ 5178847 w 9144000"/>
              <a:gd name="connsiteY2" fmla="*/ 639246 h 766858"/>
              <a:gd name="connsiteX3" fmla="*/ 0 w 9144000"/>
              <a:gd name="connsiteY3" fmla="*/ 394689 h 766858"/>
              <a:gd name="connsiteX4" fmla="*/ 0 w 9144000"/>
              <a:gd name="connsiteY4" fmla="*/ 0 h 766858"/>
              <a:gd name="connsiteX5" fmla="*/ 9144000 w 9144000"/>
              <a:gd name="connsiteY5" fmla="*/ 0 h 766858"/>
              <a:gd name="connsiteX6" fmla="*/ 9144000 w 9144000"/>
              <a:gd name="connsiteY6" fmla="*/ 416922 h 766858"/>
              <a:gd name="connsiteX7" fmla="*/ 6141540 w 9144000"/>
              <a:gd name="connsiteY7" fmla="*/ 686887 h 766858"/>
              <a:gd name="connsiteX8" fmla="*/ 3812648 w 9144000"/>
              <a:gd name="connsiteY8" fmla="*/ 286703 h 766858"/>
              <a:gd name="connsiteX9" fmla="*/ 1375730 w 9144000"/>
              <a:gd name="connsiteY9" fmla="*/ 642422 h 766858"/>
              <a:gd name="connsiteX10" fmla="*/ 0 w 9144000"/>
              <a:gd name="connsiteY10" fmla="*/ 394689 h 766858"/>
              <a:gd name="connsiteX11" fmla="*/ 0 w 9144000"/>
              <a:gd name="connsiteY11" fmla="*/ 0 h 766858"/>
              <a:gd name="connsiteX0" fmla="*/ 0 w 9144000"/>
              <a:gd name="connsiteY0" fmla="*/ 0 h 766858"/>
              <a:gd name="connsiteX1" fmla="*/ 9144000 w 9144000"/>
              <a:gd name="connsiteY1" fmla="*/ 0 h 766858"/>
              <a:gd name="connsiteX2" fmla="*/ 9144000 w 9144000"/>
              <a:gd name="connsiteY2" fmla="*/ 416922 h 766858"/>
              <a:gd name="connsiteX3" fmla="*/ 6141540 w 9144000"/>
              <a:gd name="connsiteY3" fmla="*/ 686887 h 766858"/>
              <a:gd name="connsiteX4" fmla="*/ 3812648 w 9144000"/>
              <a:gd name="connsiteY4" fmla="*/ 286703 h 766858"/>
              <a:gd name="connsiteX5" fmla="*/ 1375730 w 9144000"/>
              <a:gd name="connsiteY5" fmla="*/ 642422 h 766858"/>
              <a:gd name="connsiteX6" fmla="*/ 0 w 9144000"/>
              <a:gd name="connsiteY6" fmla="*/ 394689 h 766858"/>
              <a:gd name="connsiteX7" fmla="*/ 0 w 9144000"/>
              <a:gd name="connsiteY7" fmla="*/ 0 h 766858"/>
              <a:gd name="connsiteX8" fmla="*/ 2398092 w 9144000"/>
              <a:gd name="connsiteY8" fmla="*/ 721158 h 766858"/>
              <a:gd name="connsiteX0" fmla="*/ 0 w 9144000"/>
              <a:gd name="connsiteY0" fmla="*/ 0 h 766858"/>
              <a:gd name="connsiteX1" fmla="*/ 9144000 w 9144000"/>
              <a:gd name="connsiteY1" fmla="*/ 0 h 766858"/>
              <a:gd name="connsiteX2" fmla="*/ 9144000 w 9144000"/>
              <a:gd name="connsiteY2" fmla="*/ 416922 h 766858"/>
              <a:gd name="connsiteX3" fmla="*/ 6141540 w 9144000"/>
              <a:gd name="connsiteY3" fmla="*/ 686887 h 766858"/>
              <a:gd name="connsiteX4" fmla="*/ 3812648 w 9144000"/>
              <a:gd name="connsiteY4" fmla="*/ 286703 h 766858"/>
              <a:gd name="connsiteX5" fmla="*/ 1375730 w 9144000"/>
              <a:gd name="connsiteY5" fmla="*/ 642422 h 766858"/>
              <a:gd name="connsiteX6" fmla="*/ 0 w 9144000"/>
              <a:gd name="connsiteY6" fmla="*/ 394689 h 766858"/>
              <a:gd name="connsiteX7" fmla="*/ 0 w 9144000"/>
              <a:gd name="connsiteY7" fmla="*/ 0 h 766858"/>
              <a:gd name="connsiteX0" fmla="*/ 0 w 9144000"/>
              <a:gd name="connsiteY0" fmla="*/ 0 h 692144"/>
              <a:gd name="connsiteX1" fmla="*/ 9144000 w 9144000"/>
              <a:gd name="connsiteY1" fmla="*/ 0 h 692144"/>
              <a:gd name="connsiteX2" fmla="*/ 9144000 w 9144000"/>
              <a:gd name="connsiteY2" fmla="*/ 500742 h 692144"/>
              <a:gd name="connsiteX3" fmla="*/ 6141540 w 9144000"/>
              <a:gd name="connsiteY3" fmla="*/ 686887 h 692144"/>
              <a:gd name="connsiteX4" fmla="*/ 3812648 w 9144000"/>
              <a:gd name="connsiteY4" fmla="*/ 286703 h 692144"/>
              <a:gd name="connsiteX5" fmla="*/ 1375730 w 9144000"/>
              <a:gd name="connsiteY5" fmla="*/ 642422 h 692144"/>
              <a:gd name="connsiteX6" fmla="*/ 0 w 9144000"/>
              <a:gd name="connsiteY6" fmla="*/ 394689 h 692144"/>
              <a:gd name="connsiteX7" fmla="*/ 0 w 9144000"/>
              <a:gd name="connsiteY7" fmla="*/ 0 h 692144"/>
              <a:gd name="connsiteX0" fmla="*/ 0 w 9144000"/>
              <a:gd name="connsiteY0" fmla="*/ 0 h 804424"/>
              <a:gd name="connsiteX1" fmla="*/ 9144000 w 9144000"/>
              <a:gd name="connsiteY1" fmla="*/ 0 h 804424"/>
              <a:gd name="connsiteX2" fmla="*/ 9144000 w 9144000"/>
              <a:gd name="connsiteY2" fmla="*/ 500742 h 804424"/>
              <a:gd name="connsiteX3" fmla="*/ 6895920 w 9144000"/>
              <a:gd name="connsiteY3" fmla="*/ 801187 h 804424"/>
              <a:gd name="connsiteX4" fmla="*/ 3812648 w 9144000"/>
              <a:gd name="connsiteY4" fmla="*/ 286703 h 804424"/>
              <a:gd name="connsiteX5" fmla="*/ 1375730 w 9144000"/>
              <a:gd name="connsiteY5" fmla="*/ 642422 h 804424"/>
              <a:gd name="connsiteX6" fmla="*/ 0 w 9144000"/>
              <a:gd name="connsiteY6" fmla="*/ 394689 h 804424"/>
              <a:gd name="connsiteX7" fmla="*/ 0 w 9144000"/>
              <a:gd name="connsiteY7" fmla="*/ 0 h 804424"/>
              <a:gd name="connsiteX0" fmla="*/ 0 w 9144000"/>
              <a:gd name="connsiteY0" fmla="*/ 0 h 802352"/>
              <a:gd name="connsiteX1" fmla="*/ 9144000 w 9144000"/>
              <a:gd name="connsiteY1" fmla="*/ 0 h 802352"/>
              <a:gd name="connsiteX2" fmla="*/ 9144000 w 9144000"/>
              <a:gd name="connsiteY2" fmla="*/ 500742 h 802352"/>
              <a:gd name="connsiteX3" fmla="*/ 6895920 w 9144000"/>
              <a:gd name="connsiteY3" fmla="*/ 801187 h 802352"/>
              <a:gd name="connsiteX4" fmla="*/ 3812648 w 9144000"/>
              <a:gd name="connsiteY4" fmla="*/ 286703 h 802352"/>
              <a:gd name="connsiteX5" fmla="*/ 1375730 w 9144000"/>
              <a:gd name="connsiteY5" fmla="*/ 642422 h 802352"/>
              <a:gd name="connsiteX6" fmla="*/ 0 w 9144000"/>
              <a:gd name="connsiteY6" fmla="*/ 394689 h 802352"/>
              <a:gd name="connsiteX7" fmla="*/ 0 w 9144000"/>
              <a:gd name="connsiteY7" fmla="*/ 0 h 80235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75730 w 9144000"/>
              <a:gd name="connsiteY5" fmla="*/ 642422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86840 w 9144000"/>
              <a:gd name="connsiteY5" fmla="*/ 553974 h 805292"/>
              <a:gd name="connsiteX6" fmla="*/ 1375730 w 9144000"/>
              <a:gd name="connsiteY6" fmla="*/ 642422 h 805292"/>
              <a:gd name="connsiteX7" fmla="*/ 0 w 9144000"/>
              <a:gd name="connsiteY7" fmla="*/ 394689 h 805292"/>
              <a:gd name="connsiteX8" fmla="*/ 0 w 9144000"/>
              <a:gd name="connsiteY8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386840 w 9144000"/>
              <a:gd name="connsiteY5" fmla="*/ 55397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432560 w 9144000"/>
              <a:gd name="connsiteY5" fmla="*/ 57683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292"/>
              <a:gd name="connsiteX1" fmla="*/ 9144000 w 9144000"/>
              <a:gd name="connsiteY1" fmla="*/ 0 h 805292"/>
              <a:gd name="connsiteX2" fmla="*/ 9144000 w 9144000"/>
              <a:gd name="connsiteY2" fmla="*/ 500742 h 805292"/>
              <a:gd name="connsiteX3" fmla="*/ 6895920 w 9144000"/>
              <a:gd name="connsiteY3" fmla="*/ 801187 h 805292"/>
              <a:gd name="connsiteX4" fmla="*/ 3805028 w 9144000"/>
              <a:gd name="connsiteY4" fmla="*/ 256223 h 805292"/>
              <a:gd name="connsiteX5" fmla="*/ 1432560 w 9144000"/>
              <a:gd name="connsiteY5" fmla="*/ 576834 h 805292"/>
              <a:gd name="connsiteX6" fmla="*/ 0 w 9144000"/>
              <a:gd name="connsiteY6" fmla="*/ 394689 h 805292"/>
              <a:gd name="connsiteX7" fmla="*/ 0 w 9144000"/>
              <a:gd name="connsiteY7" fmla="*/ 0 h 805292"/>
              <a:gd name="connsiteX0" fmla="*/ 0 w 9144000"/>
              <a:gd name="connsiteY0" fmla="*/ 0 h 805992"/>
              <a:gd name="connsiteX1" fmla="*/ 9144000 w 9144000"/>
              <a:gd name="connsiteY1" fmla="*/ 0 h 805992"/>
              <a:gd name="connsiteX2" fmla="*/ 9144000 w 9144000"/>
              <a:gd name="connsiteY2" fmla="*/ 500742 h 805992"/>
              <a:gd name="connsiteX3" fmla="*/ 6895920 w 9144000"/>
              <a:gd name="connsiteY3" fmla="*/ 801187 h 805992"/>
              <a:gd name="connsiteX4" fmla="*/ 3865988 w 9144000"/>
              <a:gd name="connsiteY4" fmla="*/ 233363 h 805992"/>
              <a:gd name="connsiteX5" fmla="*/ 1432560 w 9144000"/>
              <a:gd name="connsiteY5" fmla="*/ 576834 h 805992"/>
              <a:gd name="connsiteX6" fmla="*/ 0 w 9144000"/>
              <a:gd name="connsiteY6" fmla="*/ 394689 h 805992"/>
              <a:gd name="connsiteX7" fmla="*/ 0 w 9144000"/>
              <a:gd name="connsiteY7" fmla="*/ 0 h 805992"/>
              <a:gd name="connsiteX0" fmla="*/ 0 w 9144000"/>
              <a:gd name="connsiteY0" fmla="*/ 0 h 805992"/>
              <a:gd name="connsiteX1" fmla="*/ 9144000 w 9144000"/>
              <a:gd name="connsiteY1" fmla="*/ 0 h 805992"/>
              <a:gd name="connsiteX2" fmla="*/ 9144000 w 9144000"/>
              <a:gd name="connsiteY2" fmla="*/ 500742 h 805992"/>
              <a:gd name="connsiteX3" fmla="*/ 6895920 w 9144000"/>
              <a:gd name="connsiteY3" fmla="*/ 801187 h 805992"/>
              <a:gd name="connsiteX4" fmla="*/ 3865988 w 9144000"/>
              <a:gd name="connsiteY4" fmla="*/ 233363 h 805992"/>
              <a:gd name="connsiteX5" fmla="*/ 1432560 w 9144000"/>
              <a:gd name="connsiteY5" fmla="*/ 576834 h 805992"/>
              <a:gd name="connsiteX6" fmla="*/ 0 w 9144000"/>
              <a:gd name="connsiteY6" fmla="*/ 394689 h 805992"/>
              <a:gd name="connsiteX7" fmla="*/ 0 w 9144000"/>
              <a:gd name="connsiteY7" fmla="*/ 0 h 805992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432560 w 9144000"/>
              <a:gd name="connsiteY5" fmla="*/ 576834 h 810959"/>
              <a:gd name="connsiteX6" fmla="*/ 0 w 9144000"/>
              <a:gd name="connsiteY6" fmla="*/ 394689 h 810959"/>
              <a:gd name="connsiteX7" fmla="*/ 0 w 9144000"/>
              <a:gd name="connsiteY7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390650 w 9144000"/>
              <a:gd name="connsiteY5" fmla="*/ 627634 h 810959"/>
              <a:gd name="connsiteX6" fmla="*/ 1432560 w 9144000"/>
              <a:gd name="connsiteY6" fmla="*/ 57683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390650 w 9144000"/>
              <a:gd name="connsiteY5" fmla="*/ 62763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0 w 9144000"/>
              <a:gd name="connsiteY7" fmla="*/ 3946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57350 w 9144000"/>
              <a:gd name="connsiteY5" fmla="*/ 6339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25600 w 9144000"/>
              <a:gd name="connsiteY5" fmla="*/ 621284 h 810959"/>
              <a:gd name="connsiteX6" fmla="*/ 867410 w 9144000"/>
              <a:gd name="connsiteY6" fmla="*/ 633984 h 810959"/>
              <a:gd name="connsiteX7" fmla="*/ 31750 w 9144000"/>
              <a:gd name="connsiteY7" fmla="*/ 458189 h 810959"/>
              <a:gd name="connsiteX8" fmla="*/ 0 w 9144000"/>
              <a:gd name="connsiteY8" fmla="*/ 0 h 810959"/>
              <a:gd name="connsiteX0" fmla="*/ 48046 w 9192046"/>
              <a:gd name="connsiteY0" fmla="*/ 0 h 810959"/>
              <a:gd name="connsiteX1" fmla="*/ 9192046 w 9192046"/>
              <a:gd name="connsiteY1" fmla="*/ 0 h 810959"/>
              <a:gd name="connsiteX2" fmla="*/ 9192046 w 9192046"/>
              <a:gd name="connsiteY2" fmla="*/ 500742 h 810959"/>
              <a:gd name="connsiteX3" fmla="*/ 6943966 w 9192046"/>
              <a:gd name="connsiteY3" fmla="*/ 801187 h 810959"/>
              <a:gd name="connsiteX4" fmla="*/ 3914034 w 9192046"/>
              <a:gd name="connsiteY4" fmla="*/ 233363 h 810959"/>
              <a:gd name="connsiteX5" fmla="*/ 1673646 w 9192046"/>
              <a:gd name="connsiteY5" fmla="*/ 621284 h 810959"/>
              <a:gd name="connsiteX6" fmla="*/ 915456 w 9192046"/>
              <a:gd name="connsiteY6" fmla="*/ 633984 h 810959"/>
              <a:gd name="connsiteX7" fmla="*/ 54396 w 9192046"/>
              <a:gd name="connsiteY7" fmla="*/ 456184 h 810959"/>
              <a:gd name="connsiteX8" fmla="*/ 79796 w 9192046"/>
              <a:gd name="connsiteY8" fmla="*/ 458189 h 810959"/>
              <a:gd name="connsiteX9" fmla="*/ 48046 w 9192046"/>
              <a:gd name="connsiteY9" fmla="*/ 0 h 810959"/>
              <a:gd name="connsiteX0" fmla="*/ 59284 w 9203284"/>
              <a:gd name="connsiteY0" fmla="*/ 0 h 810959"/>
              <a:gd name="connsiteX1" fmla="*/ 9203284 w 9203284"/>
              <a:gd name="connsiteY1" fmla="*/ 0 h 810959"/>
              <a:gd name="connsiteX2" fmla="*/ 9203284 w 9203284"/>
              <a:gd name="connsiteY2" fmla="*/ 500742 h 810959"/>
              <a:gd name="connsiteX3" fmla="*/ 6955204 w 9203284"/>
              <a:gd name="connsiteY3" fmla="*/ 801187 h 810959"/>
              <a:gd name="connsiteX4" fmla="*/ 3925272 w 9203284"/>
              <a:gd name="connsiteY4" fmla="*/ 233363 h 810959"/>
              <a:gd name="connsiteX5" fmla="*/ 1684884 w 9203284"/>
              <a:gd name="connsiteY5" fmla="*/ 621284 h 810959"/>
              <a:gd name="connsiteX6" fmla="*/ 926694 w 9203284"/>
              <a:gd name="connsiteY6" fmla="*/ 633984 h 810959"/>
              <a:gd name="connsiteX7" fmla="*/ 65634 w 9203284"/>
              <a:gd name="connsiteY7" fmla="*/ 456184 h 810959"/>
              <a:gd name="connsiteX8" fmla="*/ 59284 w 9203284"/>
              <a:gd name="connsiteY8" fmla="*/ 0 h 810959"/>
              <a:gd name="connsiteX0" fmla="*/ 0 w 9144000"/>
              <a:gd name="connsiteY0" fmla="*/ 0 h 810959"/>
              <a:gd name="connsiteX1" fmla="*/ 9144000 w 9144000"/>
              <a:gd name="connsiteY1" fmla="*/ 0 h 810959"/>
              <a:gd name="connsiteX2" fmla="*/ 9144000 w 9144000"/>
              <a:gd name="connsiteY2" fmla="*/ 500742 h 810959"/>
              <a:gd name="connsiteX3" fmla="*/ 6895920 w 9144000"/>
              <a:gd name="connsiteY3" fmla="*/ 801187 h 810959"/>
              <a:gd name="connsiteX4" fmla="*/ 3865988 w 9144000"/>
              <a:gd name="connsiteY4" fmla="*/ 233363 h 810959"/>
              <a:gd name="connsiteX5" fmla="*/ 1625600 w 9144000"/>
              <a:gd name="connsiteY5" fmla="*/ 621284 h 810959"/>
              <a:gd name="connsiteX6" fmla="*/ 867410 w 9144000"/>
              <a:gd name="connsiteY6" fmla="*/ 633984 h 810959"/>
              <a:gd name="connsiteX7" fmla="*/ 6350 w 9144000"/>
              <a:gd name="connsiteY7" fmla="*/ 456184 h 810959"/>
              <a:gd name="connsiteX8" fmla="*/ 0 w 9144000"/>
              <a:gd name="connsiteY8" fmla="*/ 0 h 810959"/>
              <a:gd name="connsiteX0" fmla="*/ 19050 w 9163050"/>
              <a:gd name="connsiteY0" fmla="*/ 0 h 810959"/>
              <a:gd name="connsiteX1" fmla="*/ 9163050 w 9163050"/>
              <a:gd name="connsiteY1" fmla="*/ 0 h 810959"/>
              <a:gd name="connsiteX2" fmla="*/ 9163050 w 9163050"/>
              <a:gd name="connsiteY2" fmla="*/ 500742 h 810959"/>
              <a:gd name="connsiteX3" fmla="*/ 6914970 w 9163050"/>
              <a:gd name="connsiteY3" fmla="*/ 801187 h 810959"/>
              <a:gd name="connsiteX4" fmla="*/ 3885038 w 9163050"/>
              <a:gd name="connsiteY4" fmla="*/ 233363 h 810959"/>
              <a:gd name="connsiteX5" fmla="*/ 1644650 w 9163050"/>
              <a:gd name="connsiteY5" fmla="*/ 621284 h 810959"/>
              <a:gd name="connsiteX6" fmla="*/ 886460 w 9163050"/>
              <a:gd name="connsiteY6" fmla="*/ 633984 h 810959"/>
              <a:gd name="connsiteX7" fmla="*/ 0 w 9163050"/>
              <a:gd name="connsiteY7" fmla="*/ 449834 h 810959"/>
              <a:gd name="connsiteX8" fmla="*/ 19050 w 91630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31950 w 9150350"/>
              <a:gd name="connsiteY5" fmla="*/ 621284 h 810959"/>
              <a:gd name="connsiteX6" fmla="*/ 873760 w 9150350"/>
              <a:gd name="connsiteY6" fmla="*/ 6339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31950 w 9150350"/>
              <a:gd name="connsiteY5" fmla="*/ 6212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19250 w 9150350"/>
              <a:gd name="connsiteY5" fmla="*/ 5831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10959"/>
              <a:gd name="connsiteX1" fmla="*/ 9150350 w 9150350"/>
              <a:gd name="connsiteY1" fmla="*/ 0 h 810959"/>
              <a:gd name="connsiteX2" fmla="*/ 9150350 w 9150350"/>
              <a:gd name="connsiteY2" fmla="*/ 500742 h 810959"/>
              <a:gd name="connsiteX3" fmla="*/ 6902270 w 9150350"/>
              <a:gd name="connsiteY3" fmla="*/ 801187 h 810959"/>
              <a:gd name="connsiteX4" fmla="*/ 3872338 w 9150350"/>
              <a:gd name="connsiteY4" fmla="*/ 233363 h 810959"/>
              <a:gd name="connsiteX5" fmla="*/ 1619250 w 9150350"/>
              <a:gd name="connsiteY5" fmla="*/ 583184 h 810959"/>
              <a:gd name="connsiteX6" fmla="*/ 867410 w 9150350"/>
              <a:gd name="connsiteY6" fmla="*/ 583184 h 810959"/>
              <a:gd name="connsiteX7" fmla="*/ 0 w 9150350"/>
              <a:gd name="connsiteY7" fmla="*/ 392684 h 810959"/>
              <a:gd name="connsiteX8" fmla="*/ 6350 w 9150350"/>
              <a:gd name="connsiteY8" fmla="*/ 0 h 810959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19250 w 9150350"/>
              <a:gd name="connsiteY5" fmla="*/ 583184 h 802448"/>
              <a:gd name="connsiteX6" fmla="*/ 867410 w 9150350"/>
              <a:gd name="connsiteY6" fmla="*/ 583184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50246 w 9150350"/>
              <a:gd name="connsiteY5" fmla="*/ 699421 h 802448"/>
              <a:gd name="connsiteX6" fmla="*/ 867410 w 9150350"/>
              <a:gd name="connsiteY6" fmla="*/ 583184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6350 w 9150350"/>
              <a:gd name="connsiteY0" fmla="*/ 0 h 802448"/>
              <a:gd name="connsiteX1" fmla="*/ 9150350 w 9150350"/>
              <a:gd name="connsiteY1" fmla="*/ 0 h 802448"/>
              <a:gd name="connsiteX2" fmla="*/ 9150350 w 9150350"/>
              <a:gd name="connsiteY2" fmla="*/ 500742 h 802448"/>
              <a:gd name="connsiteX3" fmla="*/ 6902270 w 9150350"/>
              <a:gd name="connsiteY3" fmla="*/ 801187 h 802448"/>
              <a:gd name="connsiteX4" fmla="*/ 3942080 w 9150350"/>
              <a:gd name="connsiteY4" fmla="*/ 372848 h 802448"/>
              <a:gd name="connsiteX5" fmla="*/ 1650246 w 9150350"/>
              <a:gd name="connsiteY5" fmla="*/ 699421 h 802448"/>
              <a:gd name="connsiteX6" fmla="*/ 859660 w 9150350"/>
              <a:gd name="connsiteY6" fmla="*/ 699422 h 802448"/>
              <a:gd name="connsiteX7" fmla="*/ 0 w 9150350"/>
              <a:gd name="connsiteY7" fmla="*/ 392684 h 802448"/>
              <a:gd name="connsiteX8" fmla="*/ 6350 w 915035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02448"/>
              <a:gd name="connsiteX1" fmla="*/ 9144000 w 9144000"/>
              <a:gd name="connsiteY1" fmla="*/ 0 h 802448"/>
              <a:gd name="connsiteX2" fmla="*/ 9144000 w 9144000"/>
              <a:gd name="connsiteY2" fmla="*/ 500742 h 802448"/>
              <a:gd name="connsiteX3" fmla="*/ 6895920 w 9144000"/>
              <a:gd name="connsiteY3" fmla="*/ 801187 h 802448"/>
              <a:gd name="connsiteX4" fmla="*/ 3935730 w 9144000"/>
              <a:gd name="connsiteY4" fmla="*/ 372848 h 802448"/>
              <a:gd name="connsiteX5" fmla="*/ 1643896 w 9144000"/>
              <a:gd name="connsiteY5" fmla="*/ 699421 h 802448"/>
              <a:gd name="connsiteX6" fmla="*/ 853310 w 9144000"/>
              <a:gd name="connsiteY6" fmla="*/ 699422 h 802448"/>
              <a:gd name="connsiteX7" fmla="*/ 1399 w 9144000"/>
              <a:gd name="connsiteY7" fmla="*/ 508921 h 802448"/>
              <a:gd name="connsiteX8" fmla="*/ 0 w 9144000"/>
              <a:gd name="connsiteY8" fmla="*/ 0 h 802448"/>
              <a:gd name="connsiteX0" fmla="*/ 0 w 9144000"/>
              <a:gd name="connsiteY0" fmla="*/ 0 h 816313"/>
              <a:gd name="connsiteX1" fmla="*/ 9144000 w 9144000"/>
              <a:gd name="connsiteY1" fmla="*/ 0 h 816313"/>
              <a:gd name="connsiteX2" fmla="*/ 9144000 w 9144000"/>
              <a:gd name="connsiteY2" fmla="*/ 500742 h 816313"/>
              <a:gd name="connsiteX3" fmla="*/ 6895920 w 9144000"/>
              <a:gd name="connsiteY3" fmla="*/ 801187 h 816313"/>
              <a:gd name="connsiteX4" fmla="*/ 3935730 w 9144000"/>
              <a:gd name="connsiteY4" fmla="*/ 372848 h 816313"/>
              <a:gd name="connsiteX5" fmla="*/ 1643896 w 9144000"/>
              <a:gd name="connsiteY5" fmla="*/ 699421 h 816313"/>
              <a:gd name="connsiteX6" fmla="*/ 853310 w 9144000"/>
              <a:gd name="connsiteY6" fmla="*/ 699422 h 816313"/>
              <a:gd name="connsiteX7" fmla="*/ 1399 w 9144000"/>
              <a:gd name="connsiteY7" fmla="*/ 508921 h 816313"/>
              <a:gd name="connsiteX8" fmla="*/ 0 w 9144000"/>
              <a:gd name="connsiteY8" fmla="*/ 0 h 816313"/>
              <a:gd name="connsiteX0" fmla="*/ 0 w 9144000"/>
              <a:gd name="connsiteY0" fmla="*/ 0 h 821830"/>
              <a:gd name="connsiteX1" fmla="*/ 9144000 w 9144000"/>
              <a:gd name="connsiteY1" fmla="*/ 0 h 821830"/>
              <a:gd name="connsiteX2" fmla="*/ 9144000 w 9144000"/>
              <a:gd name="connsiteY2" fmla="*/ 500742 h 821830"/>
              <a:gd name="connsiteX3" fmla="*/ 6895920 w 9144000"/>
              <a:gd name="connsiteY3" fmla="*/ 801187 h 821830"/>
              <a:gd name="connsiteX4" fmla="*/ 3935730 w 9144000"/>
              <a:gd name="connsiteY4" fmla="*/ 372848 h 821830"/>
              <a:gd name="connsiteX5" fmla="*/ 1643896 w 9144000"/>
              <a:gd name="connsiteY5" fmla="*/ 699421 h 821830"/>
              <a:gd name="connsiteX6" fmla="*/ 853310 w 9144000"/>
              <a:gd name="connsiteY6" fmla="*/ 699422 h 821830"/>
              <a:gd name="connsiteX7" fmla="*/ 1399 w 9144000"/>
              <a:gd name="connsiteY7" fmla="*/ 508921 h 821830"/>
              <a:gd name="connsiteX8" fmla="*/ 0 w 9144000"/>
              <a:gd name="connsiteY8" fmla="*/ 0 h 821830"/>
              <a:gd name="connsiteX0" fmla="*/ 5745 w 9149745"/>
              <a:gd name="connsiteY0" fmla="*/ 0 h 821830"/>
              <a:gd name="connsiteX1" fmla="*/ 9149745 w 9149745"/>
              <a:gd name="connsiteY1" fmla="*/ 0 h 821830"/>
              <a:gd name="connsiteX2" fmla="*/ 9149745 w 9149745"/>
              <a:gd name="connsiteY2" fmla="*/ 500742 h 821830"/>
              <a:gd name="connsiteX3" fmla="*/ 6901665 w 9149745"/>
              <a:gd name="connsiteY3" fmla="*/ 801187 h 821830"/>
              <a:gd name="connsiteX4" fmla="*/ 3941475 w 9149745"/>
              <a:gd name="connsiteY4" fmla="*/ 372848 h 821830"/>
              <a:gd name="connsiteX5" fmla="*/ 1649641 w 9149745"/>
              <a:gd name="connsiteY5" fmla="*/ 699421 h 821830"/>
              <a:gd name="connsiteX6" fmla="*/ 859055 w 9149745"/>
              <a:gd name="connsiteY6" fmla="*/ 699422 h 821830"/>
              <a:gd name="connsiteX7" fmla="*/ 0 w 9149745"/>
              <a:gd name="connsiteY7" fmla="*/ 516065 h 821830"/>
              <a:gd name="connsiteX8" fmla="*/ 5745 w 9149745"/>
              <a:gd name="connsiteY8" fmla="*/ 0 h 821830"/>
              <a:gd name="connsiteX0" fmla="*/ 5745 w 9149745"/>
              <a:gd name="connsiteY0" fmla="*/ 0 h 821830"/>
              <a:gd name="connsiteX1" fmla="*/ 9149745 w 9149745"/>
              <a:gd name="connsiteY1" fmla="*/ 0 h 821830"/>
              <a:gd name="connsiteX2" fmla="*/ 9149745 w 9149745"/>
              <a:gd name="connsiteY2" fmla="*/ 500742 h 821830"/>
              <a:gd name="connsiteX3" fmla="*/ 6901665 w 9149745"/>
              <a:gd name="connsiteY3" fmla="*/ 801187 h 821830"/>
              <a:gd name="connsiteX4" fmla="*/ 3941475 w 9149745"/>
              <a:gd name="connsiteY4" fmla="*/ 372848 h 821830"/>
              <a:gd name="connsiteX5" fmla="*/ 1649641 w 9149745"/>
              <a:gd name="connsiteY5" fmla="*/ 699421 h 821830"/>
              <a:gd name="connsiteX6" fmla="*/ 859055 w 9149745"/>
              <a:gd name="connsiteY6" fmla="*/ 699422 h 821830"/>
              <a:gd name="connsiteX7" fmla="*/ 0 w 9149745"/>
              <a:gd name="connsiteY7" fmla="*/ 516065 h 821830"/>
              <a:gd name="connsiteX8" fmla="*/ 5745 w 9149745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16065 h 821830"/>
              <a:gd name="connsiteX8" fmla="*/ 3364 w 9147364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27971 h 821830"/>
              <a:gd name="connsiteX8" fmla="*/ 3364 w 9147364"/>
              <a:gd name="connsiteY8" fmla="*/ 0 h 821830"/>
              <a:gd name="connsiteX0" fmla="*/ 3364 w 9147364"/>
              <a:gd name="connsiteY0" fmla="*/ 0 h 821830"/>
              <a:gd name="connsiteX1" fmla="*/ 9147364 w 9147364"/>
              <a:gd name="connsiteY1" fmla="*/ 0 h 821830"/>
              <a:gd name="connsiteX2" fmla="*/ 9147364 w 9147364"/>
              <a:gd name="connsiteY2" fmla="*/ 500742 h 821830"/>
              <a:gd name="connsiteX3" fmla="*/ 6899284 w 9147364"/>
              <a:gd name="connsiteY3" fmla="*/ 801187 h 821830"/>
              <a:gd name="connsiteX4" fmla="*/ 3939094 w 9147364"/>
              <a:gd name="connsiteY4" fmla="*/ 372848 h 821830"/>
              <a:gd name="connsiteX5" fmla="*/ 1647260 w 9147364"/>
              <a:gd name="connsiteY5" fmla="*/ 699421 h 821830"/>
              <a:gd name="connsiteX6" fmla="*/ 856674 w 9147364"/>
              <a:gd name="connsiteY6" fmla="*/ 699422 h 821830"/>
              <a:gd name="connsiteX7" fmla="*/ 0 w 9147364"/>
              <a:gd name="connsiteY7" fmla="*/ 527971 h 821830"/>
              <a:gd name="connsiteX8" fmla="*/ 3364 w 9147364"/>
              <a:gd name="connsiteY8" fmla="*/ 0 h 821830"/>
              <a:gd name="connsiteX0" fmla="*/ 0 w 9144000"/>
              <a:gd name="connsiteY0" fmla="*/ 0 h 821830"/>
              <a:gd name="connsiteX1" fmla="*/ 9144000 w 9144000"/>
              <a:gd name="connsiteY1" fmla="*/ 0 h 821830"/>
              <a:gd name="connsiteX2" fmla="*/ 9144000 w 9144000"/>
              <a:gd name="connsiteY2" fmla="*/ 500742 h 821830"/>
              <a:gd name="connsiteX3" fmla="*/ 6895920 w 9144000"/>
              <a:gd name="connsiteY3" fmla="*/ 801187 h 821830"/>
              <a:gd name="connsiteX4" fmla="*/ 3935730 w 9144000"/>
              <a:gd name="connsiteY4" fmla="*/ 372848 h 821830"/>
              <a:gd name="connsiteX5" fmla="*/ 1643896 w 9144000"/>
              <a:gd name="connsiteY5" fmla="*/ 699421 h 821830"/>
              <a:gd name="connsiteX6" fmla="*/ 853310 w 9144000"/>
              <a:gd name="connsiteY6" fmla="*/ 699422 h 821830"/>
              <a:gd name="connsiteX7" fmla="*/ 44262 w 9144000"/>
              <a:gd name="connsiteY7" fmla="*/ 508921 h 821830"/>
              <a:gd name="connsiteX8" fmla="*/ 0 w 9144000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  <a:gd name="connsiteX0" fmla="*/ 982 w 9144982"/>
              <a:gd name="connsiteY0" fmla="*/ 0 h 821830"/>
              <a:gd name="connsiteX1" fmla="*/ 9144982 w 9144982"/>
              <a:gd name="connsiteY1" fmla="*/ 0 h 821830"/>
              <a:gd name="connsiteX2" fmla="*/ 9144982 w 9144982"/>
              <a:gd name="connsiteY2" fmla="*/ 500742 h 821830"/>
              <a:gd name="connsiteX3" fmla="*/ 6896902 w 9144982"/>
              <a:gd name="connsiteY3" fmla="*/ 801187 h 821830"/>
              <a:gd name="connsiteX4" fmla="*/ 3936712 w 9144982"/>
              <a:gd name="connsiteY4" fmla="*/ 372848 h 821830"/>
              <a:gd name="connsiteX5" fmla="*/ 1644878 w 9144982"/>
              <a:gd name="connsiteY5" fmla="*/ 699421 h 821830"/>
              <a:gd name="connsiteX6" fmla="*/ 854292 w 9144982"/>
              <a:gd name="connsiteY6" fmla="*/ 699422 h 821830"/>
              <a:gd name="connsiteX7" fmla="*/ 0 w 9144982"/>
              <a:gd name="connsiteY7" fmla="*/ 532734 h 821830"/>
              <a:gd name="connsiteX8" fmla="*/ 982 w 9144982"/>
              <a:gd name="connsiteY8" fmla="*/ 0 h 82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982" h="821830">
                <a:close/>
                <a:moveTo>
                  <a:pt x="982" y="0"/>
                </a:moveTo>
                <a:lnTo>
                  <a:pt x="9144982" y="0"/>
                </a:lnTo>
                <a:lnTo>
                  <a:pt x="9144982" y="500742"/>
                </a:lnTo>
                <a:cubicBezTo>
                  <a:pt x="8989299" y="567439"/>
                  <a:pt x="8212622" y="908228"/>
                  <a:pt x="6896902" y="801187"/>
                </a:cubicBezTo>
                <a:cubicBezTo>
                  <a:pt x="5581182" y="694146"/>
                  <a:pt x="4812049" y="389809"/>
                  <a:pt x="3936712" y="372848"/>
                </a:cubicBezTo>
                <a:cubicBezTo>
                  <a:pt x="3061375" y="355887"/>
                  <a:pt x="2650524" y="615188"/>
                  <a:pt x="1644878" y="699421"/>
                </a:cubicBezTo>
                <a:cubicBezTo>
                  <a:pt x="1300425" y="734441"/>
                  <a:pt x="1145069" y="712052"/>
                  <a:pt x="854292" y="699422"/>
                </a:cubicBezTo>
                <a:cubicBezTo>
                  <a:pt x="591825" y="672964"/>
                  <a:pt x="142187" y="600298"/>
                  <a:pt x="0" y="532734"/>
                </a:cubicBezTo>
                <a:cubicBezTo>
                  <a:pt x="688" y="518351"/>
                  <a:pt x="2305" y="95038"/>
                  <a:pt x="982" y="0"/>
                </a:cubicBezTo>
              </a:path>
            </a:pathLst>
          </a:custGeom>
          <a:gradFill flip="none" rotWithShape="1">
            <a:gsLst>
              <a:gs pos="0">
                <a:srgbClr val="DBDBDB"/>
              </a:gs>
              <a:gs pos="78000">
                <a:srgbClr val="FFFFFF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8" name="Bild 8" descr="Logo-mit-Claim_Innenseite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242810" y="221897"/>
            <a:ext cx="121285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Freeform 12"/>
          <p:cNvSpPr>
            <a:spLocks/>
          </p:cNvSpPr>
          <p:nvPr/>
        </p:nvSpPr>
        <p:spPr bwMode="gray">
          <a:xfrm>
            <a:off x="-6350" y="255769"/>
            <a:ext cx="9154800" cy="712875"/>
          </a:xfrm>
          <a:custGeom>
            <a:avLst/>
            <a:gdLst>
              <a:gd name="T0" fmla="*/ 2880 w 2880"/>
              <a:gd name="T1" fmla="*/ 67 h 224"/>
              <a:gd name="T2" fmla="*/ 1955 w 2880"/>
              <a:gd name="T3" fmla="*/ 130 h 224"/>
              <a:gd name="T4" fmla="*/ 1212 w 2880"/>
              <a:gd name="T5" fmla="*/ 24 h 224"/>
              <a:gd name="T6" fmla="*/ 433 w 2880"/>
              <a:gd name="T7" fmla="*/ 137 h 224"/>
              <a:gd name="T8" fmla="*/ 0 w 2880"/>
              <a:gd name="T9" fmla="*/ 67 h 224"/>
              <a:gd name="T10" fmla="*/ 1 w 2880"/>
              <a:gd name="T11" fmla="*/ 96 h 224"/>
              <a:gd name="T12" fmla="*/ 753 w 2880"/>
              <a:gd name="T13" fmla="*/ 108 h 224"/>
              <a:gd name="T14" fmla="*/ 1561 w 2880"/>
              <a:gd name="T15" fmla="*/ 80 h 224"/>
              <a:gd name="T16" fmla="*/ 2022 w 2880"/>
              <a:gd name="T17" fmla="*/ 160 h 224"/>
              <a:gd name="T18" fmla="*/ 2880 w 2880"/>
              <a:gd name="T19" fmla="*/ 114 h 224"/>
              <a:gd name="T20" fmla="*/ 2880 w 2880"/>
              <a:gd name="T21" fmla="*/ 67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880" h="224">
                <a:moveTo>
                  <a:pt x="2880" y="67"/>
                </a:moveTo>
                <a:cubicBezTo>
                  <a:pt x="2737" y="127"/>
                  <a:pt x="2450" y="206"/>
                  <a:pt x="1955" y="130"/>
                </a:cubicBezTo>
                <a:cubicBezTo>
                  <a:pt x="1571" y="69"/>
                  <a:pt x="1424" y="24"/>
                  <a:pt x="1212" y="24"/>
                </a:cubicBezTo>
                <a:cubicBezTo>
                  <a:pt x="932" y="24"/>
                  <a:pt x="775" y="136"/>
                  <a:pt x="433" y="137"/>
                </a:cubicBezTo>
                <a:cubicBezTo>
                  <a:pt x="184" y="140"/>
                  <a:pt x="0" y="67"/>
                  <a:pt x="0" y="67"/>
                </a:cubicBezTo>
                <a:cubicBezTo>
                  <a:pt x="1" y="96"/>
                  <a:pt x="1" y="96"/>
                  <a:pt x="1" y="96"/>
                </a:cubicBezTo>
                <a:cubicBezTo>
                  <a:pt x="1" y="96"/>
                  <a:pt x="346" y="205"/>
                  <a:pt x="753" y="108"/>
                </a:cubicBezTo>
                <a:cubicBezTo>
                  <a:pt x="1208" y="0"/>
                  <a:pt x="1340" y="47"/>
                  <a:pt x="1561" y="80"/>
                </a:cubicBezTo>
                <a:cubicBezTo>
                  <a:pt x="1627" y="90"/>
                  <a:pt x="1869" y="140"/>
                  <a:pt x="2022" y="160"/>
                </a:cubicBezTo>
                <a:cubicBezTo>
                  <a:pt x="2514" y="224"/>
                  <a:pt x="2716" y="161"/>
                  <a:pt x="2880" y="114"/>
                </a:cubicBezTo>
                <a:cubicBezTo>
                  <a:pt x="2880" y="67"/>
                  <a:pt x="2880" y="67"/>
                  <a:pt x="2880" y="67"/>
                </a:cubicBezTo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95287" y="904739"/>
            <a:ext cx="8353426" cy="758113"/>
          </a:xfrm>
          <a:prstGeom prst="rect">
            <a:avLst/>
          </a:prstGeom>
        </p:spPr>
        <p:txBody>
          <a:bodyPr vert="horz" lIns="0" tIns="0" rIns="0" bIns="36000" rtlCol="0" anchor="b">
            <a:noAutofit/>
          </a:bodyPr>
          <a:lstStyle/>
          <a:p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754063" y="2014819"/>
            <a:ext cx="7635875" cy="42014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Slide Master Forma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244408" y="6563666"/>
            <a:ext cx="504304" cy="1961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 b="0">
                <a:solidFill>
                  <a:schemeClr val="tx2"/>
                </a:solidFill>
                <a:latin typeface="Arial"/>
                <a:sym typeface="Arial"/>
              </a:defRPr>
            </a:lvl1pPr>
          </a:lstStyle>
          <a:p>
            <a:fld id="{AA338765-0E58-4C4E-AF61-77B29536DC05}" type="slidenum">
              <a:rPr lang="en-US" smtClean="0">
                <a:solidFill>
                  <a:srgbClr val="004179"/>
                </a:solidFill>
              </a:rPr>
              <a:pPr/>
              <a:t>‹#›</a:t>
            </a:fld>
            <a:endParaRPr lang="en-US" dirty="0">
              <a:solidFill>
                <a:srgbClr val="004179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>
          <a:xfrm>
            <a:off x="395287" y="6599241"/>
            <a:ext cx="317586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US" sz="900" dirty="0">
                <a:solidFill>
                  <a:srgbClr val="004179"/>
                </a:solidFill>
              </a:rPr>
              <a:t>© 2015 GELITA AG. Any copies need to be authorized by GELITA</a:t>
            </a:r>
          </a:p>
        </p:txBody>
      </p:sp>
    </p:spTree>
    <p:extLst>
      <p:ext uri="{BB962C8B-B14F-4D97-AF65-F5344CB8AC3E}">
        <p14:creationId xmlns:p14="http://schemas.microsoft.com/office/powerpoint/2010/main" val="3547848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Arial"/>
          <a:ea typeface="+mj-ea"/>
          <a:cs typeface="+mj-cs"/>
          <a:sym typeface="Arial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300"/>
        </a:spcAft>
        <a:buClr>
          <a:schemeClr val="bg2"/>
        </a:buClr>
        <a:buFontTx/>
        <a:buNone/>
        <a:defRPr sz="1600" b="1" kern="1200">
          <a:solidFill>
            <a:schemeClr val="bg2"/>
          </a:solidFill>
          <a:latin typeface="Arial"/>
          <a:ea typeface="+mn-ea"/>
          <a:cs typeface="+mn-cs"/>
          <a:sym typeface="Arial"/>
        </a:defRPr>
      </a:lvl1pPr>
      <a:lvl2pPr marL="0" indent="0" algn="l" defTabSz="914400" rtl="0" eaLnBrk="1" latinLnBrk="0" hangingPunct="1">
        <a:spcBef>
          <a:spcPts val="300"/>
        </a:spcBef>
        <a:spcAft>
          <a:spcPts val="200"/>
        </a:spcAft>
        <a:buClr>
          <a:schemeClr val="bg2"/>
        </a:buClr>
        <a:buFontTx/>
        <a:buNone/>
        <a:defRPr sz="16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2pPr>
      <a:lvl3pPr marL="182563" indent="-182563" algn="l" defTabSz="914400" rtl="0" eaLnBrk="1" latinLnBrk="0" hangingPunct="1">
        <a:spcBef>
          <a:spcPts val="300"/>
        </a:spcBef>
        <a:spcAft>
          <a:spcPts val="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3pPr>
      <a:lvl4pPr marL="358775" indent="-176213" algn="l" defTabSz="914400" rtl="0" eaLnBrk="1" latinLnBrk="0" hangingPunct="1">
        <a:spcBef>
          <a:spcPts val="300"/>
        </a:spcBef>
        <a:spcAft>
          <a:spcPts val="200"/>
        </a:spcAft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4pPr>
      <a:lvl5pPr marL="541338" indent="-182563" algn="l" defTabSz="914400" rtl="0" eaLnBrk="1" latinLnBrk="0" hangingPunct="1">
        <a:spcBef>
          <a:spcPts val="300"/>
        </a:spcBef>
        <a:spcAft>
          <a:spcPts val="300"/>
        </a:spcAft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5pPr>
      <a:lvl6pPr marL="541338" indent="-182563" algn="l" defTabSz="914400" rtl="0" eaLnBrk="1" latinLnBrk="0" hangingPunct="1">
        <a:spcBef>
          <a:spcPts val="300"/>
        </a:spcBef>
        <a:spcAft>
          <a:spcPts val="300"/>
        </a:spcAft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6pPr>
      <a:lvl7pPr marL="541338" indent="-182563" algn="l" defTabSz="914400" rtl="0" eaLnBrk="1" latinLnBrk="0" hangingPunct="1">
        <a:spcBef>
          <a:spcPts val="300"/>
        </a:spcBef>
        <a:spcAft>
          <a:spcPts val="300"/>
        </a:spcAft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7pPr>
      <a:lvl8pPr marL="541338" indent="-182563" algn="l" defTabSz="914400" rtl="0" eaLnBrk="1" latinLnBrk="0" hangingPunct="1">
        <a:spcBef>
          <a:spcPts val="300"/>
        </a:spcBef>
        <a:spcAft>
          <a:spcPts val="300"/>
        </a:spcAft>
        <a:buClr>
          <a:schemeClr val="bg2"/>
        </a:buClr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Arial"/>
          <a:ea typeface="+mn-ea"/>
          <a:cs typeface="+mn-cs"/>
          <a:sym typeface="Arial"/>
        </a:defRPr>
      </a:lvl8pPr>
      <a:lvl9pPr marL="541338" indent="-182563" algn="l" defTabSz="914400" rtl="0" eaLnBrk="1" latinLnBrk="0" hangingPunct="1">
        <a:spcBef>
          <a:spcPts val="300"/>
        </a:spcBef>
        <a:spcAft>
          <a:spcPts val="300"/>
        </a:spcAft>
        <a:buClr>
          <a:schemeClr val="bg2"/>
        </a:buClr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Arial"/>
          <a:ea typeface="+mn-ea"/>
          <a:cs typeface="+mn-cs"/>
          <a:sym typeface="Arial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963" r="12583" b="3403"/>
          <a:stretch/>
        </p:blipFill>
        <p:spPr>
          <a:xfrm>
            <a:off x="2387955" y="2586205"/>
            <a:ext cx="6286768" cy="3863788"/>
          </a:xfrm>
          <a:prstGeom prst="rect">
            <a:avLst/>
          </a:prstGeom>
        </p:spPr>
      </p:pic>
      <p:sp>
        <p:nvSpPr>
          <p:cNvPr id="10" name="Inhaltsplatzhalter 2"/>
          <p:cNvSpPr txBox="1">
            <a:spLocks/>
          </p:cNvSpPr>
          <p:nvPr/>
        </p:nvSpPr>
        <p:spPr bwMode="auto">
          <a:xfrm>
            <a:off x="2224605" y="5282952"/>
            <a:ext cx="2005351" cy="1041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0000" marR="0" indent="-180000" algn="l" defTabSz="27463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F7A600"/>
              </a:buClr>
              <a:buSzPct val="125000"/>
              <a:buFont typeface="+mj-lt"/>
              <a:buNone/>
              <a:tabLst/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274638" rtl="0" fontAlgn="base">
              <a:spcBef>
                <a:spcPts val="0"/>
              </a:spcBef>
              <a:spcAft>
                <a:spcPts val="800"/>
              </a:spcAft>
              <a:buClr>
                <a:srgbClr val="FFCC66"/>
              </a:buClr>
              <a:buSzPct val="125000"/>
              <a:buFont typeface="Arial"/>
              <a:buNone/>
              <a:defRPr sz="1200">
                <a:solidFill>
                  <a:srgbClr val="000000"/>
                </a:solidFill>
                <a:latin typeface="+mn-lt"/>
              </a:defRPr>
            </a:lvl2pPr>
            <a:lvl3pPr marL="720000" indent="-180000" algn="l" defTabSz="274638" rtl="0" fontAlgn="base">
              <a:spcBef>
                <a:spcPts val="0"/>
              </a:spcBef>
              <a:spcAft>
                <a:spcPts val="800"/>
              </a:spcAft>
              <a:buClr>
                <a:srgbClr val="FFCC66"/>
              </a:buClr>
              <a:buSzPct val="125000"/>
              <a:buFont typeface="Arial"/>
              <a:buNone/>
              <a:defRPr sz="1200">
                <a:solidFill>
                  <a:srgbClr val="000000"/>
                </a:solidFill>
                <a:latin typeface="+mn-lt"/>
              </a:defRPr>
            </a:lvl3pPr>
            <a:lvl4pPr marL="900000" indent="-180000" algn="l" defTabSz="274638" rtl="0" fontAlgn="base">
              <a:spcBef>
                <a:spcPts val="0"/>
              </a:spcBef>
              <a:spcAft>
                <a:spcPts val="800"/>
              </a:spcAft>
              <a:buClr>
                <a:srgbClr val="FFCC66"/>
              </a:buClr>
              <a:buSzPct val="125000"/>
              <a:buFont typeface="Arial"/>
              <a:buNone/>
              <a:defRPr sz="1200">
                <a:solidFill>
                  <a:srgbClr val="000000"/>
                </a:solidFill>
                <a:latin typeface="+mn-lt"/>
              </a:defRPr>
            </a:lvl4pPr>
            <a:lvl5pPr marL="1080000" indent="-180000" algn="l" defTabSz="274638" rtl="0" fontAlgn="base">
              <a:spcBef>
                <a:spcPts val="0"/>
              </a:spcBef>
              <a:spcAft>
                <a:spcPts val="800"/>
              </a:spcAft>
              <a:buClr>
                <a:srgbClr val="FFCC66"/>
              </a:buClr>
              <a:buSzPct val="125000"/>
              <a:buFont typeface="Arial"/>
              <a:buNone/>
              <a:defRPr sz="1200">
                <a:solidFill>
                  <a:srgbClr val="000000"/>
                </a:solidFill>
                <a:latin typeface="+mn-lt"/>
              </a:defRPr>
            </a:lvl5pPr>
            <a:lvl6pPr marL="1809750" indent="-274638" algn="l" defTabSz="274638" rtl="0" fontAlgn="base">
              <a:spcBef>
                <a:spcPct val="30000"/>
              </a:spcBef>
              <a:spcAft>
                <a:spcPct val="0"/>
              </a:spcAft>
              <a:buClr>
                <a:srgbClr val="FFCC66"/>
              </a:buClr>
              <a:buChar char="•"/>
              <a:defRPr sz="1600">
                <a:solidFill>
                  <a:srgbClr val="000066"/>
                </a:solidFill>
                <a:latin typeface="+mn-lt"/>
              </a:defRPr>
            </a:lvl6pPr>
            <a:lvl7pPr marL="2266950" indent="-274638" algn="l" defTabSz="274638" rtl="0" fontAlgn="base">
              <a:spcBef>
                <a:spcPct val="30000"/>
              </a:spcBef>
              <a:spcAft>
                <a:spcPct val="0"/>
              </a:spcAft>
              <a:buClr>
                <a:srgbClr val="FFCC66"/>
              </a:buClr>
              <a:buChar char="•"/>
              <a:defRPr sz="1600">
                <a:solidFill>
                  <a:srgbClr val="000066"/>
                </a:solidFill>
                <a:latin typeface="+mn-lt"/>
              </a:defRPr>
            </a:lvl7pPr>
            <a:lvl8pPr marL="2724150" indent="-274638" algn="l" defTabSz="274638" rtl="0" fontAlgn="base">
              <a:spcBef>
                <a:spcPct val="30000"/>
              </a:spcBef>
              <a:spcAft>
                <a:spcPct val="0"/>
              </a:spcAft>
              <a:buClr>
                <a:srgbClr val="FFCC66"/>
              </a:buClr>
              <a:buChar char="•"/>
              <a:defRPr sz="1600">
                <a:solidFill>
                  <a:srgbClr val="000066"/>
                </a:solidFill>
                <a:latin typeface="+mn-lt"/>
              </a:defRPr>
            </a:lvl8pPr>
            <a:lvl9pPr marL="3181350" indent="-274638" algn="l" defTabSz="274638" rtl="0" fontAlgn="base">
              <a:spcBef>
                <a:spcPct val="30000"/>
              </a:spcBef>
              <a:spcAft>
                <a:spcPct val="0"/>
              </a:spcAft>
              <a:buClr>
                <a:srgbClr val="FFCC66"/>
              </a:buClr>
              <a:buChar char="•"/>
              <a:defRPr sz="1600">
                <a:solidFill>
                  <a:srgbClr val="000066"/>
                </a:solidFill>
                <a:latin typeface="+mn-lt"/>
              </a:defRPr>
            </a:lvl9pPr>
          </a:lstStyle>
          <a:p>
            <a:pPr marL="0">
              <a:spcAft>
                <a:spcPts val="400"/>
              </a:spcAft>
              <a:buClr>
                <a:schemeClr val="accent1">
                  <a:lumMod val="75000"/>
                </a:schemeClr>
              </a:buClr>
            </a:pPr>
            <a:r>
              <a:rPr lang="de-DE" sz="1200" b="1" dirty="0" err="1">
                <a:solidFill>
                  <a:srgbClr val="FFAE0D"/>
                </a:solidFill>
              </a:rPr>
              <a:t>Osteoblast</a:t>
            </a:r>
            <a:endParaRPr lang="de-DE" sz="1200" b="1" dirty="0">
              <a:solidFill>
                <a:srgbClr val="FFAE0D"/>
              </a:solidFill>
            </a:endParaRPr>
          </a:p>
          <a:p>
            <a:pPr>
              <a:spcAft>
                <a:spcPts val="400"/>
              </a:spcAft>
              <a:buClr>
                <a:schemeClr val="accent1">
                  <a:lumMod val="75000"/>
                </a:schemeClr>
              </a:buClr>
              <a:buFont typeface="Arial"/>
              <a:buChar char="•"/>
            </a:pPr>
            <a:r>
              <a:rPr lang="en-US" sz="1000" dirty="0">
                <a:cs typeface="Arial" charset="0"/>
              </a:rPr>
              <a:t>Synthesizing bone matrix</a:t>
            </a:r>
          </a:p>
          <a:p>
            <a:pPr>
              <a:spcAft>
                <a:spcPts val="400"/>
              </a:spcAft>
              <a:buClr>
                <a:schemeClr val="accent1">
                  <a:lumMod val="75000"/>
                </a:schemeClr>
              </a:buClr>
              <a:buFont typeface="Arial"/>
              <a:buChar char="•"/>
            </a:pPr>
            <a:endParaRPr lang="en-US" sz="1000" dirty="0">
              <a:cs typeface="Arial" charset="0"/>
            </a:endParaRPr>
          </a:p>
          <a:p>
            <a:pPr marL="0" indent="0">
              <a:spcAft>
                <a:spcPts val="400"/>
              </a:spcAft>
              <a:buClr>
                <a:schemeClr val="accent1">
                  <a:lumMod val="75000"/>
                </a:schemeClr>
              </a:buClr>
            </a:pPr>
            <a:r>
              <a:rPr lang="zh-CN" altLang="en-US" sz="1000" b="1" dirty="0"/>
              <a:t>成骨细胞</a:t>
            </a:r>
            <a:endParaRPr lang="en-US" altLang="zh-CN" sz="1000" b="1" dirty="0"/>
          </a:p>
          <a:p>
            <a:pPr marL="171450" indent="-171450">
              <a:spcAft>
                <a:spcPts val="400"/>
              </a:spcAft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zh-CN" altLang="en-US" sz="1000" dirty="0"/>
              <a:t>合成骨基质</a:t>
            </a:r>
            <a:endParaRPr lang="de-DE" sz="1000" dirty="0"/>
          </a:p>
          <a:p>
            <a:pPr>
              <a:spcAft>
                <a:spcPts val="400"/>
              </a:spcAft>
              <a:buClr>
                <a:schemeClr val="accent1">
                  <a:lumMod val="75000"/>
                </a:schemeClr>
              </a:buClr>
              <a:buFont typeface="Arial"/>
              <a:buChar char="•"/>
            </a:pPr>
            <a:endParaRPr lang="de-DE" sz="100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uman Cells Responsible for Collagen Metabolism</a:t>
            </a:r>
            <a:br>
              <a:rPr lang="en-US" dirty="0"/>
            </a:br>
            <a:r>
              <a:rPr lang="zh-CN" altLang="en-US" dirty="0"/>
              <a:t>负责胶原代谢的人类细胞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378883" y="6778826"/>
            <a:ext cx="504304" cy="196131"/>
          </a:xfrm>
        </p:spPr>
        <p:txBody>
          <a:bodyPr/>
          <a:lstStyle/>
          <a:p>
            <a:fld id="{7C7BD98F-CB44-460A-AB0F-B78530F77C65}" type="slidenum">
              <a:rPr lang="en-US"/>
              <a:pPr/>
              <a:t>1</a:t>
            </a:fld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quarter" idx="13"/>
          </p:nvPr>
        </p:nvSpPr>
        <p:spPr>
          <a:xfrm>
            <a:off x="754064" y="2016000"/>
            <a:ext cx="5494336" cy="2419019"/>
          </a:xfrm>
        </p:spPr>
        <p:txBody>
          <a:bodyPr/>
          <a:lstStyle/>
          <a:p>
            <a:pPr lvl="2"/>
            <a:r>
              <a:rPr lang="en-US" dirty="0"/>
              <a:t>4 types of cells responsible for constant collagen turnover</a:t>
            </a:r>
          </a:p>
          <a:p>
            <a:pPr lvl="2"/>
            <a:r>
              <a:rPr lang="zh-CN" altLang="en-US" dirty="0"/>
              <a:t>持续负责胶原蛋白生产的</a:t>
            </a:r>
            <a:r>
              <a:rPr lang="en-US" altLang="zh-CN" dirty="0"/>
              <a:t>4</a:t>
            </a:r>
            <a:r>
              <a:rPr lang="zh-CN" altLang="en-US" dirty="0"/>
              <a:t>种类型的细胞</a:t>
            </a:r>
            <a:endParaRPr lang="en-US" dirty="0"/>
          </a:p>
          <a:p>
            <a:pPr lvl="2"/>
            <a:r>
              <a:rPr lang="en-US" dirty="0"/>
              <a:t>Continues anabolic &amp; catabolic balance</a:t>
            </a:r>
          </a:p>
          <a:p>
            <a:pPr lvl="2"/>
            <a:r>
              <a:rPr lang="zh-CN" altLang="en-US" dirty="0"/>
              <a:t>持续合成代谢和分解代谢平衡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417315" y="2806080"/>
            <a:ext cx="6807200" cy="1300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spcBef>
                <a:spcPct val="20000"/>
              </a:spcBef>
            </a:pPr>
            <a:endParaRPr lang="en-US" sz="3200" b="1">
              <a:solidFill>
                <a:srgbClr val="003366"/>
              </a:solidFill>
              <a:latin typeface="Calibri" pitchFamily="34" charset="0"/>
            </a:endParaRPr>
          </a:p>
        </p:txBody>
      </p:sp>
      <p:sp>
        <p:nvSpPr>
          <p:cNvPr id="9" name="Inhaltsplatzhalter 2"/>
          <p:cNvSpPr txBox="1">
            <a:spLocks/>
          </p:cNvSpPr>
          <p:nvPr/>
        </p:nvSpPr>
        <p:spPr bwMode="auto">
          <a:xfrm>
            <a:off x="3267211" y="3883985"/>
            <a:ext cx="1512168" cy="1201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0000" marR="0" indent="-180000" algn="l" defTabSz="27463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F7A600"/>
              </a:buClr>
              <a:buSzPct val="125000"/>
              <a:buFont typeface="+mj-lt"/>
              <a:buNone/>
              <a:tabLst/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274638" rtl="0" fontAlgn="base">
              <a:spcBef>
                <a:spcPts val="0"/>
              </a:spcBef>
              <a:spcAft>
                <a:spcPts val="800"/>
              </a:spcAft>
              <a:buClr>
                <a:srgbClr val="FFCC66"/>
              </a:buClr>
              <a:buSzPct val="125000"/>
              <a:buFont typeface="Arial"/>
              <a:buNone/>
              <a:defRPr sz="1200">
                <a:solidFill>
                  <a:srgbClr val="000000"/>
                </a:solidFill>
                <a:latin typeface="+mn-lt"/>
              </a:defRPr>
            </a:lvl2pPr>
            <a:lvl3pPr marL="720000" indent="-180000" algn="l" defTabSz="274638" rtl="0" fontAlgn="base">
              <a:spcBef>
                <a:spcPts val="0"/>
              </a:spcBef>
              <a:spcAft>
                <a:spcPts val="800"/>
              </a:spcAft>
              <a:buClr>
                <a:srgbClr val="FFCC66"/>
              </a:buClr>
              <a:buSzPct val="125000"/>
              <a:buFont typeface="Arial"/>
              <a:buNone/>
              <a:defRPr sz="1200">
                <a:solidFill>
                  <a:srgbClr val="000000"/>
                </a:solidFill>
                <a:latin typeface="+mn-lt"/>
              </a:defRPr>
            </a:lvl3pPr>
            <a:lvl4pPr marL="900000" indent="-180000" algn="l" defTabSz="274638" rtl="0" fontAlgn="base">
              <a:spcBef>
                <a:spcPts val="0"/>
              </a:spcBef>
              <a:spcAft>
                <a:spcPts val="800"/>
              </a:spcAft>
              <a:buClr>
                <a:srgbClr val="FFCC66"/>
              </a:buClr>
              <a:buSzPct val="125000"/>
              <a:buFont typeface="Arial"/>
              <a:buNone/>
              <a:defRPr sz="1200">
                <a:solidFill>
                  <a:srgbClr val="000000"/>
                </a:solidFill>
                <a:latin typeface="+mn-lt"/>
              </a:defRPr>
            </a:lvl4pPr>
            <a:lvl5pPr marL="1080000" indent="-180000" algn="l" defTabSz="274638" rtl="0" fontAlgn="base">
              <a:spcBef>
                <a:spcPts val="0"/>
              </a:spcBef>
              <a:spcAft>
                <a:spcPts val="800"/>
              </a:spcAft>
              <a:buClr>
                <a:srgbClr val="FFCC66"/>
              </a:buClr>
              <a:buSzPct val="125000"/>
              <a:buFont typeface="Arial"/>
              <a:buNone/>
              <a:defRPr sz="1200">
                <a:solidFill>
                  <a:srgbClr val="000000"/>
                </a:solidFill>
                <a:latin typeface="+mn-lt"/>
              </a:defRPr>
            </a:lvl5pPr>
            <a:lvl6pPr marL="1809750" indent="-274638" algn="l" defTabSz="274638" rtl="0" fontAlgn="base">
              <a:spcBef>
                <a:spcPct val="30000"/>
              </a:spcBef>
              <a:spcAft>
                <a:spcPct val="0"/>
              </a:spcAft>
              <a:buClr>
                <a:srgbClr val="FFCC66"/>
              </a:buClr>
              <a:buChar char="•"/>
              <a:defRPr sz="1600">
                <a:solidFill>
                  <a:srgbClr val="000066"/>
                </a:solidFill>
                <a:latin typeface="+mn-lt"/>
              </a:defRPr>
            </a:lvl6pPr>
            <a:lvl7pPr marL="2266950" indent="-274638" algn="l" defTabSz="274638" rtl="0" fontAlgn="base">
              <a:spcBef>
                <a:spcPct val="30000"/>
              </a:spcBef>
              <a:spcAft>
                <a:spcPct val="0"/>
              </a:spcAft>
              <a:buClr>
                <a:srgbClr val="FFCC66"/>
              </a:buClr>
              <a:buChar char="•"/>
              <a:defRPr sz="1600">
                <a:solidFill>
                  <a:srgbClr val="000066"/>
                </a:solidFill>
                <a:latin typeface="+mn-lt"/>
              </a:defRPr>
            </a:lvl7pPr>
            <a:lvl8pPr marL="2724150" indent="-274638" algn="l" defTabSz="274638" rtl="0" fontAlgn="base">
              <a:spcBef>
                <a:spcPct val="30000"/>
              </a:spcBef>
              <a:spcAft>
                <a:spcPct val="0"/>
              </a:spcAft>
              <a:buClr>
                <a:srgbClr val="FFCC66"/>
              </a:buClr>
              <a:buChar char="•"/>
              <a:defRPr sz="1600">
                <a:solidFill>
                  <a:srgbClr val="000066"/>
                </a:solidFill>
                <a:latin typeface="+mn-lt"/>
              </a:defRPr>
            </a:lvl8pPr>
            <a:lvl9pPr marL="3181350" indent="-274638" algn="l" defTabSz="274638" rtl="0" fontAlgn="base">
              <a:spcBef>
                <a:spcPct val="30000"/>
              </a:spcBef>
              <a:spcAft>
                <a:spcPct val="0"/>
              </a:spcAft>
              <a:buClr>
                <a:srgbClr val="FFCC66"/>
              </a:buClr>
              <a:buChar char="•"/>
              <a:defRPr sz="1600">
                <a:solidFill>
                  <a:srgbClr val="000066"/>
                </a:solidFill>
                <a:latin typeface="+mn-lt"/>
              </a:defRPr>
            </a:lvl9pPr>
          </a:lstStyle>
          <a:p>
            <a:pPr>
              <a:spcAft>
                <a:spcPts val="400"/>
              </a:spcAft>
            </a:pPr>
            <a:r>
              <a:rPr lang="de-DE" sz="1200" b="1" dirty="0" err="1">
                <a:solidFill>
                  <a:srgbClr val="FFAE0D"/>
                </a:solidFill>
              </a:rPr>
              <a:t>Osteoclast</a:t>
            </a:r>
            <a:endParaRPr lang="de-DE" sz="1200" b="1" dirty="0">
              <a:solidFill>
                <a:srgbClr val="FFAE0D"/>
              </a:solidFill>
            </a:endParaRPr>
          </a:p>
          <a:p>
            <a:pPr>
              <a:spcAft>
                <a:spcPts val="400"/>
              </a:spcAft>
              <a:buClr>
                <a:schemeClr val="accent1">
                  <a:lumMod val="75000"/>
                </a:schemeClr>
              </a:buClr>
              <a:buFont typeface="Arial"/>
              <a:buChar char="•"/>
            </a:pPr>
            <a:r>
              <a:rPr lang="en-US" sz="1000" dirty="0">
                <a:cs typeface="Arial" charset="0"/>
              </a:rPr>
              <a:t>Degrading bone matrix</a:t>
            </a:r>
          </a:p>
          <a:p>
            <a:pPr marL="0" indent="0">
              <a:spcAft>
                <a:spcPts val="400"/>
              </a:spcAft>
              <a:buClr>
                <a:schemeClr val="accent1">
                  <a:lumMod val="75000"/>
                </a:schemeClr>
              </a:buClr>
            </a:pPr>
            <a:endParaRPr lang="en-US" sz="1000" dirty="0">
              <a:cs typeface="Arial" charset="0"/>
            </a:endParaRPr>
          </a:p>
          <a:p>
            <a:pPr marL="0" indent="0">
              <a:spcAft>
                <a:spcPts val="400"/>
              </a:spcAft>
              <a:buClr>
                <a:schemeClr val="accent1">
                  <a:lumMod val="75000"/>
                </a:schemeClr>
              </a:buClr>
            </a:pPr>
            <a:r>
              <a:rPr lang="zh-CN" altLang="en-US" sz="1000" b="1" dirty="0"/>
              <a:t>破骨细胞</a:t>
            </a:r>
            <a:endParaRPr lang="en-US" altLang="zh-CN" sz="1000" dirty="0"/>
          </a:p>
          <a:p>
            <a:pPr marL="171450" indent="-171450">
              <a:spcAft>
                <a:spcPts val="400"/>
              </a:spcAft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zh-CN" altLang="en-US" sz="1000" dirty="0"/>
              <a:t>降解骨骼基质</a:t>
            </a:r>
            <a:endParaRPr lang="de-DE" sz="1000" dirty="0"/>
          </a:p>
          <a:p>
            <a:pPr>
              <a:spcAft>
                <a:spcPts val="400"/>
              </a:spcAft>
              <a:buClr>
                <a:schemeClr val="accent1">
                  <a:lumMod val="75000"/>
                </a:schemeClr>
              </a:buClr>
              <a:buFont typeface="Arial"/>
              <a:buChar char="•"/>
            </a:pPr>
            <a:endParaRPr lang="en-US" sz="1000" dirty="0">
              <a:cs typeface="Arial" charset="0"/>
            </a:endParaRPr>
          </a:p>
          <a:p>
            <a:pPr>
              <a:spcAft>
                <a:spcPts val="400"/>
              </a:spcAft>
              <a:buFont typeface="Arial"/>
              <a:buChar char="•"/>
            </a:pPr>
            <a:endParaRPr lang="de-DE" sz="1000" dirty="0"/>
          </a:p>
        </p:txBody>
      </p:sp>
      <p:sp>
        <p:nvSpPr>
          <p:cNvPr id="11" name="Inhaltsplatzhalter 2"/>
          <p:cNvSpPr txBox="1">
            <a:spLocks/>
          </p:cNvSpPr>
          <p:nvPr/>
        </p:nvSpPr>
        <p:spPr bwMode="auto">
          <a:xfrm>
            <a:off x="7325905" y="4455344"/>
            <a:ext cx="1512168" cy="1259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0000" marR="0" indent="-180000" algn="l" defTabSz="27463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F7A600"/>
              </a:buClr>
              <a:buSzPct val="125000"/>
              <a:buFont typeface="+mj-lt"/>
              <a:buNone/>
              <a:tabLst/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274638" rtl="0" fontAlgn="base">
              <a:spcBef>
                <a:spcPts val="0"/>
              </a:spcBef>
              <a:spcAft>
                <a:spcPts val="800"/>
              </a:spcAft>
              <a:buClr>
                <a:srgbClr val="FFCC66"/>
              </a:buClr>
              <a:buSzPct val="125000"/>
              <a:buFont typeface="Arial"/>
              <a:buNone/>
              <a:defRPr sz="1200">
                <a:solidFill>
                  <a:srgbClr val="000000"/>
                </a:solidFill>
                <a:latin typeface="+mn-lt"/>
              </a:defRPr>
            </a:lvl2pPr>
            <a:lvl3pPr marL="720000" indent="-180000" algn="l" defTabSz="274638" rtl="0" fontAlgn="base">
              <a:spcBef>
                <a:spcPts val="0"/>
              </a:spcBef>
              <a:spcAft>
                <a:spcPts val="800"/>
              </a:spcAft>
              <a:buClr>
                <a:srgbClr val="FFCC66"/>
              </a:buClr>
              <a:buSzPct val="125000"/>
              <a:buFont typeface="Arial"/>
              <a:buNone/>
              <a:defRPr sz="1200">
                <a:solidFill>
                  <a:srgbClr val="000000"/>
                </a:solidFill>
                <a:latin typeface="+mn-lt"/>
              </a:defRPr>
            </a:lvl3pPr>
            <a:lvl4pPr marL="900000" indent="-180000" algn="l" defTabSz="274638" rtl="0" fontAlgn="base">
              <a:spcBef>
                <a:spcPts val="0"/>
              </a:spcBef>
              <a:spcAft>
                <a:spcPts val="800"/>
              </a:spcAft>
              <a:buClr>
                <a:srgbClr val="FFCC66"/>
              </a:buClr>
              <a:buSzPct val="125000"/>
              <a:buFont typeface="Arial"/>
              <a:buNone/>
              <a:defRPr sz="1200">
                <a:solidFill>
                  <a:srgbClr val="000000"/>
                </a:solidFill>
                <a:latin typeface="+mn-lt"/>
              </a:defRPr>
            </a:lvl4pPr>
            <a:lvl5pPr marL="1080000" indent="-180000" algn="l" defTabSz="274638" rtl="0" fontAlgn="base">
              <a:spcBef>
                <a:spcPts val="0"/>
              </a:spcBef>
              <a:spcAft>
                <a:spcPts val="800"/>
              </a:spcAft>
              <a:buClr>
                <a:srgbClr val="FFCC66"/>
              </a:buClr>
              <a:buSzPct val="125000"/>
              <a:buFont typeface="Arial"/>
              <a:buNone/>
              <a:defRPr sz="1200">
                <a:solidFill>
                  <a:srgbClr val="000000"/>
                </a:solidFill>
                <a:latin typeface="+mn-lt"/>
              </a:defRPr>
            </a:lvl5pPr>
            <a:lvl6pPr marL="1809750" indent="-274638" algn="l" defTabSz="274638" rtl="0" fontAlgn="base">
              <a:spcBef>
                <a:spcPct val="30000"/>
              </a:spcBef>
              <a:spcAft>
                <a:spcPct val="0"/>
              </a:spcAft>
              <a:buClr>
                <a:srgbClr val="FFCC66"/>
              </a:buClr>
              <a:buChar char="•"/>
              <a:defRPr sz="1600">
                <a:solidFill>
                  <a:srgbClr val="000066"/>
                </a:solidFill>
                <a:latin typeface="+mn-lt"/>
              </a:defRPr>
            </a:lvl6pPr>
            <a:lvl7pPr marL="2266950" indent="-274638" algn="l" defTabSz="274638" rtl="0" fontAlgn="base">
              <a:spcBef>
                <a:spcPct val="30000"/>
              </a:spcBef>
              <a:spcAft>
                <a:spcPct val="0"/>
              </a:spcAft>
              <a:buClr>
                <a:srgbClr val="FFCC66"/>
              </a:buClr>
              <a:buChar char="•"/>
              <a:defRPr sz="1600">
                <a:solidFill>
                  <a:srgbClr val="000066"/>
                </a:solidFill>
                <a:latin typeface="+mn-lt"/>
              </a:defRPr>
            </a:lvl7pPr>
            <a:lvl8pPr marL="2724150" indent="-274638" algn="l" defTabSz="274638" rtl="0" fontAlgn="base">
              <a:spcBef>
                <a:spcPct val="30000"/>
              </a:spcBef>
              <a:spcAft>
                <a:spcPct val="0"/>
              </a:spcAft>
              <a:buClr>
                <a:srgbClr val="FFCC66"/>
              </a:buClr>
              <a:buChar char="•"/>
              <a:defRPr sz="1600">
                <a:solidFill>
                  <a:srgbClr val="000066"/>
                </a:solidFill>
                <a:latin typeface="+mn-lt"/>
              </a:defRPr>
            </a:lvl8pPr>
            <a:lvl9pPr marL="3181350" indent="-274638" algn="l" defTabSz="274638" rtl="0" fontAlgn="base">
              <a:spcBef>
                <a:spcPct val="30000"/>
              </a:spcBef>
              <a:spcAft>
                <a:spcPct val="0"/>
              </a:spcAft>
              <a:buClr>
                <a:srgbClr val="FFCC66"/>
              </a:buClr>
              <a:buChar char="•"/>
              <a:defRPr sz="1600">
                <a:solidFill>
                  <a:srgbClr val="000066"/>
                </a:solidFill>
                <a:latin typeface="+mn-lt"/>
              </a:defRPr>
            </a:lvl9pPr>
          </a:lstStyle>
          <a:p>
            <a:pPr marL="0">
              <a:spcAft>
                <a:spcPts val="400"/>
              </a:spcAft>
              <a:buClr>
                <a:schemeClr val="accent1">
                  <a:lumMod val="75000"/>
                </a:schemeClr>
              </a:buClr>
            </a:pPr>
            <a:r>
              <a:rPr lang="de-DE" sz="1200" b="1" dirty="0" err="1">
                <a:solidFill>
                  <a:srgbClr val="FFAE0D"/>
                </a:solidFill>
              </a:rPr>
              <a:t>Chondrocyte</a:t>
            </a:r>
            <a:endParaRPr lang="de-DE" sz="1200" b="1" dirty="0">
              <a:solidFill>
                <a:srgbClr val="FFAE0D"/>
              </a:solidFill>
            </a:endParaRPr>
          </a:p>
          <a:p>
            <a:pPr>
              <a:spcAft>
                <a:spcPts val="400"/>
              </a:spcAft>
              <a:buClr>
                <a:schemeClr val="accent1">
                  <a:lumMod val="75000"/>
                </a:schemeClr>
              </a:buClr>
              <a:buFont typeface="Arial"/>
              <a:buChar char="•"/>
            </a:pPr>
            <a:r>
              <a:rPr lang="en-US" sz="1000" dirty="0"/>
              <a:t>Production and maintenance of cartilaginous matrix</a:t>
            </a:r>
          </a:p>
          <a:p>
            <a:pPr>
              <a:spcAft>
                <a:spcPts val="400"/>
              </a:spcAft>
              <a:buClr>
                <a:schemeClr val="accent1">
                  <a:lumMod val="75000"/>
                </a:schemeClr>
              </a:buClr>
              <a:buFont typeface="Arial"/>
              <a:buChar char="•"/>
            </a:pPr>
            <a:r>
              <a:rPr lang="zh-CN" altLang="en-US" sz="1000" b="1" dirty="0"/>
              <a:t>软骨细胞</a:t>
            </a:r>
            <a:br>
              <a:rPr lang="zh-CN" altLang="en-US" sz="1000" dirty="0"/>
            </a:br>
            <a:r>
              <a:rPr lang="zh-CN" altLang="en-US" sz="1000" dirty="0"/>
              <a:t>生产和维护软骨基质</a:t>
            </a:r>
            <a:endParaRPr lang="en-US" sz="1000" dirty="0">
              <a:cs typeface="Arial" charset="0"/>
            </a:endParaRPr>
          </a:p>
          <a:p>
            <a:pPr>
              <a:spcAft>
                <a:spcPts val="400"/>
              </a:spcAft>
              <a:buClr>
                <a:schemeClr val="accent1">
                  <a:lumMod val="75000"/>
                </a:schemeClr>
              </a:buClr>
              <a:buFont typeface="Arial"/>
              <a:buChar char="•"/>
            </a:pPr>
            <a:endParaRPr lang="de-DE" sz="1000" dirty="0"/>
          </a:p>
        </p:txBody>
      </p:sp>
      <p:sp>
        <p:nvSpPr>
          <p:cNvPr id="13" name="Inhaltsplatzhalter 2"/>
          <p:cNvSpPr txBox="1">
            <a:spLocks/>
          </p:cNvSpPr>
          <p:nvPr/>
        </p:nvSpPr>
        <p:spPr bwMode="auto">
          <a:xfrm>
            <a:off x="7248354" y="2583075"/>
            <a:ext cx="1895645" cy="1851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0000" marR="0" indent="-180000" algn="l" defTabSz="27463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F7A600"/>
              </a:buClr>
              <a:buSzPct val="125000"/>
              <a:buFont typeface="+mj-lt"/>
              <a:buNone/>
              <a:tabLst/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274638" rtl="0" fontAlgn="base">
              <a:spcBef>
                <a:spcPts val="0"/>
              </a:spcBef>
              <a:spcAft>
                <a:spcPts val="800"/>
              </a:spcAft>
              <a:buClr>
                <a:srgbClr val="FFCC66"/>
              </a:buClr>
              <a:buSzPct val="125000"/>
              <a:buFont typeface="Arial"/>
              <a:buNone/>
              <a:defRPr sz="1200">
                <a:solidFill>
                  <a:srgbClr val="000000"/>
                </a:solidFill>
                <a:latin typeface="+mn-lt"/>
              </a:defRPr>
            </a:lvl2pPr>
            <a:lvl3pPr marL="720000" indent="-180000" algn="l" defTabSz="274638" rtl="0" fontAlgn="base">
              <a:spcBef>
                <a:spcPts val="0"/>
              </a:spcBef>
              <a:spcAft>
                <a:spcPts val="800"/>
              </a:spcAft>
              <a:buClr>
                <a:srgbClr val="FFCC66"/>
              </a:buClr>
              <a:buSzPct val="125000"/>
              <a:buFont typeface="Arial"/>
              <a:buNone/>
              <a:defRPr sz="1200">
                <a:solidFill>
                  <a:srgbClr val="000000"/>
                </a:solidFill>
                <a:latin typeface="+mn-lt"/>
              </a:defRPr>
            </a:lvl3pPr>
            <a:lvl4pPr marL="900000" indent="-180000" algn="l" defTabSz="274638" rtl="0" fontAlgn="base">
              <a:spcBef>
                <a:spcPts val="0"/>
              </a:spcBef>
              <a:spcAft>
                <a:spcPts val="800"/>
              </a:spcAft>
              <a:buClr>
                <a:srgbClr val="FFCC66"/>
              </a:buClr>
              <a:buSzPct val="125000"/>
              <a:buFont typeface="Arial"/>
              <a:buNone/>
              <a:defRPr sz="1200">
                <a:solidFill>
                  <a:srgbClr val="000000"/>
                </a:solidFill>
                <a:latin typeface="+mn-lt"/>
              </a:defRPr>
            </a:lvl4pPr>
            <a:lvl5pPr marL="1080000" indent="-180000" algn="l" defTabSz="274638" rtl="0" fontAlgn="base">
              <a:spcBef>
                <a:spcPts val="0"/>
              </a:spcBef>
              <a:spcAft>
                <a:spcPts val="800"/>
              </a:spcAft>
              <a:buClr>
                <a:srgbClr val="FFCC66"/>
              </a:buClr>
              <a:buSzPct val="125000"/>
              <a:buFont typeface="Arial"/>
              <a:buNone/>
              <a:defRPr sz="1200">
                <a:solidFill>
                  <a:srgbClr val="000000"/>
                </a:solidFill>
                <a:latin typeface="+mn-lt"/>
              </a:defRPr>
            </a:lvl5pPr>
            <a:lvl6pPr marL="1809750" indent="-274638" algn="l" defTabSz="274638" rtl="0" fontAlgn="base">
              <a:spcBef>
                <a:spcPct val="30000"/>
              </a:spcBef>
              <a:spcAft>
                <a:spcPct val="0"/>
              </a:spcAft>
              <a:buClr>
                <a:srgbClr val="FFCC66"/>
              </a:buClr>
              <a:buChar char="•"/>
              <a:defRPr sz="1600">
                <a:solidFill>
                  <a:srgbClr val="000066"/>
                </a:solidFill>
                <a:latin typeface="+mn-lt"/>
              </a:defRPr>
            </a:lvl6pPr>
            <a:lvl7pPr marL="2266950" indent="-274638" algn="l" defTabSz="274638" rtl="0" fontAlgn="base">
              <a:spcBef>
                <a:spcPct val="30000"/>
              </a:spcBef>
              <a:spcAft>
                <a:spcPct val="0"/>
              </a:spcAft>
              <a:buClr>
                <a:srgbClr val="FFCC66"/>
              </a:buClr>
              <a:buChar char="•"/>
              <a:defRPr sz="1600">
                <a:solidFill>
                  <a:srgbClr val="000066"/>
                </a:solidFill>
                <a:latin typeface="+mn-lt"/>
              </a:defRPr>
            </a:lvl7pPr>
            <a:lvl8pPr marL="2724150" indent="-274638" algn="l" defTabSz="274638" rtl="0" fontAlgn="base">
              <a:spcBef>
                <a:spcPct val="30000"/>
              </a:spcBef>
              <a:spcAft>
                <a:spcPct val="0"/>
              </a:spcAft>
              <a:buClr>
                <a:srgbClr val="FFCC66"/>
              </a:buClr>
              <a:buChar char="•"/>
              <a:defRPr sz="1600">
                <a:solidFill>
                  <a:srgbClr val="000066"/>
                </a:solidFill>
                <a:latin typeface="+mn-lt"/>
              </a:defRPr>
            </a:lvl8pPr>
            <a:lvl9pPr marL="3181350" indent="-274638" algn="l" defTabSz="274638" rtl="0" fontAlgn="base">
              <a:spcBef>
                <a:spcPct val="30000"/>
              </a:spcBef>
              <a:spcAft>
                <a:spcPct val="0"/>
              </a:spcAft>
              <a:buClr>
                <a:srgbClr val="FFCC66"/>
              </a:buClr>
              <a:buChar char="•"/>
              <a:defRPr sz="1600">
                <a:solidFill>
                  <a:srgbClr val="000066"/>
                </a:solidFill>
                <a:latin typeface="+mn-lt"/>
              </a:defRPr>
            </a:lvl9pPr>
          </a:lstStyle>
          <a:p>
            <a:pPr>
              <a:spcAft>
                <a:spcPts val="400"/>
              </a:spcAft>
              <a:buClr>
                <a:schemeClr val="accent1">
                  <a:lumMod val="75000"/>
                </a:schemeClr>
              </a:buClr>
            </a:pPr>
            <a:r>
              <a:rPr lang="de-DE" sz="1200" b="1" dirty="0" err="1">
                <a:solidFill>
                  <a:srgbClr val="FFAE0D"/>
                </a:solidFill>
              </a:rPr>
              <a:t>Fibroblast</a:t>
            </a:r>
            <a:endParaRPr lang="de-DE" sz="1200" b="1" dirty="0">
              <a:solidFill>
                <a:srgbClr val="FFAE0D"/>
              </a:solidFill>
            </a:endParaRPr>
          </a:p>
          <a:p>
            <a:pPr>
              <a:spcAft>
                <a:spcPts val="400"/>
              </a:spcAft>
              <a:buClr>
                <a:schemeClr val="accent1">
                  <a:lumMod val="75000"/>
                </a:schemeClr>
              </a:buClr>
              <a:buFont typeface="Arial"/>
              <a:buChar char="•"/>
            </a:pPr>
            <a:r>
              <a:rPr lang="en-US" sz="1000" dirty="0">
                <a:cs typeface="Arial" charset="0"/>
              </a:rPr>
              <a:t>Synthesis of collagen extracellular matrix in connective tissue (skin, fascia, ligaments, tendons</a:t>
            </a:r>
          </a:p>
          <a:p>
            <a:pPr>
              <a:spcAft>
                <a:spcPts val="400"/>
              </a:spcAft>
              <a:buClr>
                <a:schemeClr val="accent1">
                  <a:lumMod val="75000"/>
                </a:schemeClr>
              </a:buClr>
              <a:buFont typeface="Arial"/>
              <a:buChar char="•"/>
            </a:pPr>
            <a:endParaRPr lang="en-US" sz="1000" dirty="0">
              <a:cs typeface="Arial" charset="0"/>
            </a:endParaRPr>
          </a:p>
          <a:p>
            <a:pPr>
              <a:spcAft>
                <a:spcPts val="400"/>
              </a:spcAft>
              <a:buClr>
                <a:schemeClr val="accent1">
                  <a:lumMod val="75000"/>
                </a:schemeClr>
              </a:buClr>
              <a:buFont typeface="Arial"/>
              <a:buChar char="•"/>
            </a:pPr>
            <a:r>
              <a:rPr lang="zh-CN" altLang="en-US" sz="1000" b="1" dirty="0"/>
              <a:t>成纤维细胞</a:t>
            </a:r>
            <a:br>
              <a:rPr lang="zh-CN" altLang="en-US" sz="1000" dirty="0"/>
            </a:br>
            <a:r>
              <a:rPr lang="zh-CN" altLang="en-US" sz="1000" dirty="0"/>
              <a:t>在结缔组织（皮肤，筋膜，韧带，肌腱）中合成胶原细胞外基质</a:t>
            </a:r>
            <a:endParaRPr lang="en-US" sz="1000" dirty="0">
              <a:cs typeface="Arial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6200" y="76200"/>
            <a:ext cx="8915400" cy="828539"/>
          </a:xfrm>
          <a:prstGeom prst="rect">
            <a:avLst/>
          </a:prstGeom>
          <a:gradFill>
            <a:gsLst>
              <a:gs pos="79000">
                <a:srgbClr val="F69826"/>
              </a:gs>
              <a:gs pos="16000">
                <a:srgbClr val="F6941E"/>
              </a:gs>
              <a:gs pos="417">
                <a:srgbClr val="F69116"/>
              </a:gs>
              <a:gs pos="100000">
                <a:srgbClr val="F6941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ve this part but you can direct copy the others at the bottom with added </a:t>
            </a:r>
          </a:p>
          <a:p>
            <a:pPr algn="ctr"/>
            <a:r>
              <a:rPr lang="en-MY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nese text.</a:t>
            </a:r>
          </a:p>
        </p:txBody>
      </p:sp>
    </p:spTree>
    <p:extLst>
      <p:ext uri="{BB962C8B-B14F-4D97-AF65-F5344CB8AC3E}">
        <p14:creationId xmlns:p14="http://schemas.microsoft.com/office/powerpoint/2010/main" val="1703221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elita Master">
  <a:themeElements>
    <a:clrScheme name="Benutzerdefiniert 25">
      <a:dk1>
        <a:srgbClr val="292929"/>
      </a:dk1>
      <a:lt1>
        <a:srgbClr val="FFFFFF"/>
      </a:lt1>
      <a:dk2>
        <a:srgbClr val="004179"/>
      </a:dk2>
      <a:lt2>
        <a:srgbClr val="E58409"/>
      </a:lt2>
      <a:accent1>
        <a:srgbClr val="828282"/>
      </a:accent1>
      <a:accent2>
        <a:srgbClr val="C0C0C0"/>
      </a:accent2>
      <a:accent3>
        <a:srgbClr val="414141"/>
      </a:accent3>
      <a:accent4>
        <a:srgbClr val="A8B87E"/>
      </a:accent4>
      <a:accent5>
        <a:srgbClr val="F7A600"/>
      </a:accent5>
      <a:accent6>
        <a:srgbClr val="839E4B"/>
      </a:accent6>
      <a:hlink>
        <a:srgbClr val="004179"/>
      </a:hlink>
      <a:folHlink>
        <a:srgbClr val="82828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79000">
              <a:srgbClr val="F69826"/>
            </a:gs>
            <a:gs pos="16000">
              <a:srgbClr val="F6941E"/>
            </a:gs>
            <a:gs pos="417">
              <a:srgbClr val="F69116"/>
            </a:gs>
            <a:gs pos="100000">
              <a:srgbClr val="F6941E"/>
            </a:gs>
          </a:gsLst>
          <a:lin ang="16200000" scaled="1"/>
        </a:gra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08000" tIns="72000" rIns="108000" bIns="72000" rtlCol="0">
        <a:noAutofit/>
      </a:bodyPr>
      <a:lstStyle>
        <a:defPPr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2</TotalTime>
  <Words>130</Words>
  <Application>Microsoft Office PowerPoint</Application>
  <PresentationFormat>On-screen Show (4:3)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宋体</vt:lpstr>
      <vt:lpstr>Arial</vt:lpstr>
      <vt:lpstr>Calibri</vt:lpstr>
      <vt:lpstr>Gelita Master</vt:lpstr>
      <vt:lpstr>think-cell Folie</vt:lpstr>
      <vt:lpstr>Human Cells Responsible for Collagen Metabolism 负责胶原代谢的人类细胞</vt:lpstr>
    </vt:vector>
  </TitlesOfParts>
  <Company>Gelita US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nical Study I on FORTIGEL 5gr Daily Dosage (2014)</dc:title>
  <dc:creator>TLipp</dc:creator>
  <cp:lastModifiedBy>Asus Zenbook</cp:lastModifiedBy>
  <cp:revision>23</cp:revision>
  <dcterms:created xsi:type="dcterms:W3CDTF">2015-03-11T22:51:48Z</dcterms:created>
  <dcterms:modified xsi:type="dcterms:W3CDTF">2017-11-02T08:35:58Z</dcterms:modified>
</cp:coreProperties>
</file>